
<file path=[Content_Types].xml><?xml version="1.0" encoding="utf-8"?>
<Types xmlns="http://schemas.openxmlformats.org/package/2006/content-types">
  <Override PartName="/ppt/diagrams/drawing2.xml" ContentType="application/vnd.ms-office.drawingml.diagramDrawing+xml"/>
  <Override PartName="/ppt/slides/slide9.xml" ContentType="application/vnd.openxmlformats-officedocument.presentationml.slide+xml"/>
  <Override PartName="/ppt/diagrams/data2.xml" ContentType="application/vnd.openxmlformats-officedocument.drawingml.diagramData+xml"/>
  <Default Extension="emf" ContentType="image/x-emf"/>
  <Override PartName="/ppt/slides/slide14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s/slide5.xml" ContentType="application/vnd.openxmlformats-officedocument.presentationml.slide+xml"/>
  <Override PartName="/ppt/diagrams/colors1.xml" ContentType="application/vnd.openxmlformats-officedocument.drawingml.diagramColors+xml"/>
  <Default Extension="rels" ContentType="application/vnd.openxmlformats-package.relationships+xml"/>
  <Default Extension="jpeg" ContentType="image/jpeg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5.xml" ContentType="application/vnd.openxmlformats-officedocument.presentationml.slideLayout+xml"/>
  <Override PartName="/docProps/app.xml" ContentType="application/vnd.openxmlformats-officedocument.extended-properties+xml"/>
  <Override PartName="/ppt/theme/theme2.xml" ContentType="application/vnd.openxmlformats-officedocument.theme+xml"/>
  <Override PartName="/ppt/slideLayouts/slideLayout1.xml" ContentType="application/vnd.openxmlformats-officedocument.presentationml.slideLayout+xml"/>
  <Default Extension="xml" ContentType="application/xml"/>
  <Override PartName="/ppt/diagrams/drawing3.xml" ContentType="application/vnd.ms-office.drawingml.diagramDrawing+xml"/>
  <Override PartName="/ppt/tableStyles.xml" ContentType="application/vnd.openxmlformats-officedocument.presentationml.tableStyles+xml"/>
  <Override PartName="/ppt/diagrams/data3.xml" ContentType="application/vnd.openxmlformats-officedocument.drawingml.diagramData+xml"/>
  <Override PartName="/ppt/slides/slide15.xml" ContentType="application/vnd.openxmlformats-officedocument.presentationml.slide+xml"/>
  <Override PartName="/ppt/notesSlides/notesSlide1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s/slide6.xml" ContentType="application/vnd.openxmlformats-officedocument.presentationml.slide+xml"/>
  <Override PartName="/ppt/embeddings/oleObject1.bin" ContentType="application/vnd.openxmlformats-officedocument.oleObject"/>
  <Override PartName="/ppt/diagrams/colors2.xml" ContentType="application/vnd.openxmlformats-officedocument.drawingml.diagramColors+xml"/>
  <Override PartName="/docProps/core.xml" ContentType="application/vnd.openxmlformats-package.core-properties+xml"/>
  <Override PartName="/ppt/slides/slide11.xml" ContentType="application/vnd.openxmlformats-officedocument.presentationml.slide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s/slide2.xml" ContentType="application/vnd.openxmlformats-officedocument.presentationml.slide+xml"/>
  <Default Extension="png" ContentType="image/png"/>
  <Override PartName="/ppt/slideLayouts/slideLayout2.xml" ContentType="application/vnd.openxmlformats-officedocument.presentationml.slideLayout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slides/slide16.xml" ContentType="application/vnd.openxmlformats-officedocument.presentationml.slide+xml"/>
  <Override PartName="/ppt/slideLayouts/slideLayout13.xml" ContentType="application/vnd.openxmlformats-officedocument.presentationml.slideLayout+xml"/>
  <Override PartName="/ppt/notesSlides/notesSlide2.xml" ContentType="application/vnd.openxmlformats-officedocument.presentationml.notesSlide+xml"/>
  <Override PartName="/ppt/slides/slide7.xml" ContentType="application/vnd.openxmlformats-officedocument.presentationml.slide+xml"/>
  <Override PartName="/ppt/diagrams/colors3.xml" ContentType="application/vnd.openxmlformats-officedocument.drawingml.diagramColors+xml"/>
  <Override PartName="/ppt/presentation.xml" ContentType="application/vnd.openxmlformats-officedocument.presentationml.presentation.main+xml"/>
  <Override PartName="/ppt/slides/slide12.xml" ContentType="application/vnd.openxmlformats-officedocument.presentationml.slide+xml"/>
  <Override PartName="/ppt/slideLayouts/slideLayout7.xml" ContentType="application/vnd.openxmlformats-officedocument.presentationml.slideLayout+xml"/>
  <Default Extension="vml" ContentType="application/vnd.openxmlformats-officedocument.vmlDrawing"/>
  <Override PartName="/ppt/slides/slide3.xml" ContentType="application/vnd.openxmlformats-officedocument.presentationml.slide+xml"/>
  <Override PartName="/ppt/tags/tag3.xml" ContentType="application/vnd.openxmlformats-officedocument.presentationml.tags+xml"/>
  <Override PartName="/ppt/diagrams/layout2.xml" ContentType="application/vnd.openxmlformats-officedocument.drawingml.diagramLayout+xml"/>
  <Override PartName="/ppt/slideLayouts/slideLayout3.xml" ContentType="application/vnd.openxmlformats-officedocument.presentationml.slideLayout+xml"/>
  <Override PartName="/ppt/diagrams/quickStyle2.xml" ContentType="application/vnd.openxmlformats-officedocument.drawingml.diagramStyle+xml"/>
  <Override PartName="/ppt/slides/slide17.xml" ContentType="application/vnd.openxmlformats-officedocument.presentationml.slide+xml"/>
  <Override PartName="/ppt/diagrams/drawing1.xml" ContentType="application/vnd.ms-office.drawingml.diagramDrawing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presProps.xml" ContentType="application/vnd.openxmlformats-officedocument.presentationml.presProps+xml"/>
  <Override PartName="/ppt/slides/slide13.xml" ContentType="application/vnd.openxmlformats-officedocument.presentationml.slide+xml"/>
  <Override PartName="/ppt/slideLayouts/slideLayout8.xml" ContentType="application/vnd.openxmlformats-officedocument.presentationml.slideLayout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slides/slide4.xml" ContentType="application/vnd.openxmlformats-officedocument.presentationml.slide+xml"/>
  <Override PartName="/ppt/diagrams/layout3.xml" ContentType="application/vnd.openxmlformats-officedocument.drawingml.diagramLayout+xml"/>
  <Override PartName="/ppt/slideLayouts/slideLayout4.xml" ContentType="application/vnd.openxmlformats-officedocument.presentationml.slideLayout+xml"/>
  <Override PartName="/ppt/diagrams/quickStyle3.xml" ContentType="application/vnd.openxmlformats-officedocument.drawingml.diagramStyle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viewProps.xml" ContentType="application/vnd.openxmlformats-officedocument.presentationml.viewProps+xml"/>
  <Default Extension="bin" ContentType="application/vnd.openxmlformats-officedocument.presentationml.printerSettings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48" r:id="rId1"/>
  </p:sldMasterIdLst>
  <p:notesMasterIdLst>
    <p:notesMasterId r:id="rId19"/>
  </p:notesMasterIdLst>
  <p:sldIdLst>
    <p:sldId id="344" r:id="rId2"/>
    <p:sldId id="384" r:id="rId3"/>
    <p:sldId id="391" r:id="rId4"/>
    <p:sldId id="390" r:id="rId5"/>
    <p:sldId id="352" r:id="rId6"/>
    <p:sldId id="392" r:id="rId7"/>
    <p:sldId id="355" r:id="rId8"/>
    <p:sldId id="356" r:id="rId9"/>
    <p:sldId id="357" r:id="rId10"/>
    <p:sldId id="358" r:id="rId11"/>
    <p:sldId id="359" r:id="rId12"/>
    <p:sldId id="394" r:id="rId13"/>
    <p:sldId id="393" r:id="rId14"/>
    <p:sldId id="395" r:id="rId15"/>
    <p:sldId id="396" r:id="rId16"/>
    <p:sldId id="397" r:id="rId17"/>
    <p:sldId id="398" r:id="rId18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extLst>
    <p:ext uri="{E76CE94A-603C-4142-B9EB-6D1370010A27}">
      <p14:discardImageEditData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0"/>
    </p:ext>
    <p:ext uri="{D31A062A-798A-4329-ABDD-BBA856620510}">
      <p14:defaultImageDpi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>
    <p:restoredLeft sz="15588" autoAdjust="0"/>
    <p:restoredTop sz="88748" autoAdjust="0"/>
  </p:normalViewPr>
  <p:slideViewPr>
    <p:cSldViewPr>
      <p:cViewPr>
        <p:scale>
          <a:sx n="70" d="100"/>
          <a:sy n="70" d="100"/>
        </p:scale>
        <p:origin x="-2528" y="-8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printerSettings" Target="printerSettings/printerSettings1.bin"/><Relationship Id="rId21" Type="http://schemas.openxmlformats.org/officeDocument/2006/relationships/presProps" Target="presProps.xml"/><Relationship Id="rId22" Type="http://schemas.openxmlformats.org/officeDocument/2006/relationships/viewProps" Target="viewProps.xml"/><Relationship Id="rId23" Type="http://schemas.openxmlformats.org/officeDocument/2006/relationships/theme" Target="theme/theme1.xml"/><Relationship Id="rId24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34979D7-DAA9-ED44-AC24-979BBA7B840F}" type="doc">
      <dgm:prSet loTypeId="urn:microsoft.com/office/officeart/2005/8/layout/vList2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808D78E-92E7-6441-B3DA-9F2497DF2E58}">
      <dgm:prSet/>
      <dgm:spPr/>
      <dgm:t>
        <a:bodyPr/>
        <a:lstStyle/>
        <a:p>
          <a:pPr rtl="0"/>
          <a:r>
            <a:rPr lang="en-US" dirty="0" smtClean="0"/>
            <a:t>A measure of the system’s ability to resist unauthorized usage while still providing its services to legitimate users </a:t>
          </a:r>
          <a:endParaRPr lang="en-US" dirty="0"/>
        </a:p>
      </dgm:t>
    </dgm:pt>
    <dgm:pt modelId="{CE172D5A-D6A4-224A-9AD1-95C2AB038226}" type="parTrans" cxnId="{8AD4ED59-1DC3-E34D-B0FE-77E83401AFAD}">
      <dgm:prSet/>
      <dgm:spPr/>
      <dgm:t>
        <a:bodyPr/>
        <a:lstStyle/>
        <a:p>
          <a:endParaRPr lang="en-US"/>
        </a:p>
      </dgm:t>
    </dgm:pt>
    <dgm:pt modelId="{18CEB4A0-36BE-E045-90D7-5BB1354E36F5}" type="sibTrans" cxnId="{8AD4ED59-1DC3-E34D-B0FE-77E83401AFAD}">
      <dgm:prSet/>
      <dgm:spPr/>
      <dgm:t>
        <a:bodyPr/>
        <a:lstStyle/>
        <a:p>
          <a:endParaRPr lang="en-US"/>
        </a:p>
      </dgm:t>
    </dgm:pt>
    <dgm:pt modelId="{5E9D53E9-C384-364B-85AA-8FB588B3A360}">
      <dgm:prSet/>
      <dgm:spPr/>
      <dgm:t>
        <a:bodyPr/>
        <a:lstStyle/>
        <a:p>
          <a:pPr rtl="0"/>
          <a:r>
            <a:rPr lang="en-US" dirty="0" smtClean="0"/>
            <a:t>A</a:t>
          </a:r>
          <a:r>
            <a:rPr lang="x-none" dirty="0" smtClean="0"/>
            <a:t>bility to </a:t>
          </a:r>
          <a:r>
            <a:rPr lang="en-US" dirty="0" smtClean="0"/>
            <a:t>protect data and information from unauthorized access</a:t>
          </a:r>
          <a:endParaRPr lang="en-US" dirty="0"/>
        </a:p>
      </dgm:t>
    </dgm:pt>
    <dgm:pt modelId="{9DB17BDF-8CE3-6249-85A9-B6E91B2D5A5A}" type="parTrans" cxnId="{52EAE22A-F6BB-BE46-ACE0-9868F2F7BB9F}">
      <dgm:prSet/>
      <dgm:spPr/>
      <dgm:t>
        <a:bodyPr/>
        <a:lstStyle/>
        <a:p>
          <a:endParaRPr lang="en-US"/>
        </a:p>
      </dgm:t>
    </dgm:pt>
    <dgm:pt modelId="{C05F549F-ECAA-F740-8DC4-693DC17119F6}" type="sibTrans" cxnId="{52EAE22A-F6BB-BE46-ACE0-9868F2F7BB9F}">
      <dgm:prSet/>
      <dgm:spPr/>
      <dgm:t>
        <a:bodyPr/>
        <a:lstStyle/>
        <a:p>
          <a:endParaRPr lang="en-US"/>
        </a:p>
      </dgm:t>
    </dgm:pt>
    <dgm:pt modelId="{D1DF3095-D836-724D-B098-B8ED0B0C5CED}">
      <dgm:prSet/>
      <dgm:spPr/>
      <dgm:t>
        <a:bodyPr/>
        <a:lstStyle/>
        <a:p>
          <a:pPr rtl="0"/>
          <a:r>
            <a:rPr lang="en-US" dirty="0" smtClean="0"/>
            <a:t>An attempt to breach this is an “Attack”</a:t>
          </a:r>
          <a:endParaRPr lang="en-US" dirty="0"/>
        </a:p>
      </dgm:t>
    </dgm:pt>
    <dgm:pt modelId="{A0E9738E-72A5-BB43-96A9-188F75980962}" type="parTrans" cxnId="{C7376D3B-82EB-7943-9B0D-B5BF7951E4E7}">
      <dgm:prSet/>
      <dgm:spPr/>
      <dgm:t>
        <a:bodyPr/>
        <a:lstStyle/>
        <a:p>
          <a:endParaRPr lang="en-US"/>
        </a:p>
      </dgm:t>
    </dgm:pt>
    <dgm:pt modelId="{A8EBE9BA-EEB8-ED4B-8424-936723B29255}" type="sibTrans" cxnId="{C7376D3B-82EB-7943-9B0D-B5BF7951E4E7}">
      <dgm:prSet/>
      <dgm:spPr/>
      <dgm:t>
        <a:bodyPr/>
        <a:lstStyle/>
        <a:p>
          <a:endParaRPr lang="en-US"/>
        </a:p>
      </dgm:t>
    </dgm:pt>
    <dgm:pt modelId="{59365E4F-FC6E-824E-A76E-8CE8FE009AC7}">
      <dgm:prSet/>
      <dgm:spPr/>
      <dgm:t>
        <a:bodyPr/>
        <a:lstStyle/>
        <a:p>
          <a:pPr rtl="0"/>
          <a:r>
            <a:rPr lang="en-US" dirty="0" smtClean="0"/>
            <a:t>Unauthorized attempt to access, modify, delete data</a:t>
          </a:r>
          <a:endParaRPr lang="en-US" dirty="0"/>
        </a:p>
      </dgm:t>
    </dgm:pt>
    <dgm:pt modelId="{64B1ADA8-A657-2D4F-B32C-2CE5561E177B}" type="parTrans" cxnId="{9E912CDD-88C3-F048-9E14-AFAF46A3F64D}">
      <dgm:prSet/>
      <dgm:spPr/>
      <dgm:t>
        <a:bodyPr/>
        <a:lstStyle/>
        <a:p>
          <a:endParaRPr lang="en-US"/>
        </a:p>
      </dgm:t>
    </dgm:pt>
    <dgm:pt modelId="{0C31E182-19CA-064C-A02C-7BFB668FFDD0}" type="sibTrans" cxnId="{9E912CDD-88C3-F048-9E14-AFAF46A3F64D}">
      <dgm:prSet/>
      <dgm:spPr/>
      <dgm:t>
        <a:bodyPr/>
        <a:lstStyle/>
        <a:p>
          <a:endParaRPr lang="en-US"/>
        </a:p>
      </dgm:t>
    </dgm:pt>
    <dgm:pt modelId="{A53C2D0D-1C21-864A-8468-AA73E19473E6}">
      <dgm:prSet/>
      <dgm:spPr/>
      <dgm:t>
        <a:bodyPr/>
        <a:lstStyle/>
        <a:p>
          <a:pPr rtl="0"/>
          <a:r>
            <a:rPr lang="en-US" dirty="0" smtClean="0"/>
            <a:t>Theft of money by </a:t>
          </a:r>
          <a:r>
            <a:rPr lang="en-US" dirty="0" err="1" smtClean="0"/>
            <a:t>e</a:t>
          </a:r>
          <a:r>
            <a:rPr lang="en-US" dirty="0" smtClean="0"/>
            <a:t>-transfer, modification records and files, reading and copying sensitive data like credit card number</a:t>
          </a:r>
          <a:endParaRPr lang="en-US" dirty="0"/>
        </a:p>
      </dgm:t>
    </dgm:pt>
    <dgm:pt modelId="{1F8A3561-524F-A543-8DD5-F6BD48B32A27}" type="parTrans" cxnId="{6A05B6D8-1FE3-4C4A-A032-A30E1376D424}">
      <dgm:prSet/>
      <dgm:spPr/>
      <dgm:t>
        <a:bodyPr/>
        <a:lstStyle/>
        <a:p>
          <a:endParaRPr lang="en-US"/>
        </a:p>
      </dgm:t>
    </dgm:pt>
    <dgm:pt modelId="{2FB4F8E4-48EC-FB40-80F6-3FB203A77150}" type="sibTrans" cxnId="{6A05B6D8-1FE3-4C4A-A032-A30E1376D424}">
      <dgm:prSet/>
      <dgm:spPr/>
      <dgm:t>
        <a:bodyPr/>
        <a:lstStyle/>
        <a:p>
          <a:endParaRPr lang="en-US"/>
        </a:p>
      </dgm:t>
    </dgm:pt>
    <dgm:pt modelId="{8E0FF66E-F5D5-E64C-9946-0E72D411432C}">
      <dgm:prSet/>
      <dgm:spPr/>
      <dgm:t>
        <a:bodyPr/>
        <a:lstStyle/>
        <a:p>
          <a:pPr rtl="0"/>
          <a:r>
            <a:rPr lang="en-US" dirty="0" smtClean="0"/>
            <a:t>Deny service to legitimate users</a:t>
          </a:r>
          <a:endParaRPr lang="en-US" dirty="0"/>
        </a:p>
      </dgm:t>
    </dgm:pt>
    <dgm:pt modelId="{77D1A949-A27A-694A-AB84-B50D6414FA2D}" type="parTrans" cxnId="{C95757F5-9071-AD49-97C2-088082A87960}">
      <dgm:prSet/>
      <dgm:spPr/>
      <dgm:t>
        <a:bodyPr/>
        <a:lstStyle/>
        <a:p>
          <a:endParaRPr lang="en-US"/>
        </a:p>
      </dgm:t>
    </dgm:pt>
    <dgm:pt modelId="{368460FF-F266-4642-86E5-DDCAD92710EE}" type="sibTrans" cxnId="{C95757F5-9071-AD49-97C2-088082A87960}">
      <dgm:prSet/>
      <dgm:spPr/>
      <dgm:t>
        <a:bodyPr/>
        <a:lstStyle/>
        <a:p>
          <a:endParaRPr lang="en-US"/>
        </a:p>
      </dgm:t>
    </dgm:pt>
    <dgm:pt modelId="{80E6F9E2-55D4-A942-BFB0-2F6A9D677CE7}" type="pres">
      <dgm:prSet presAssocID="{B34979D7-DAA9-ED44-AC24-979BBA7B840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F388605-A345-204A-9E4B-28D3A38D2512}" type="pres">
      <dgm:prSet presAssocID="{A808D78E-92E7-6441-B3DA-9F2497DF2E58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3211614-1338-9643-BBE0-1571CD99DB0F}" type="pres">
      <dgm:prSet presAssocID="{A808D78E-92E7-6441-B3DA-9F2497DF2E58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5BD7C58-BD5D-8348-9F9B-A3B52122AD1E}" type="pres">
      <dgm:prSet presAssocID="{D1DF3095-D836-724D-B098-B8ED0B0C5CED}" presName="parentText" presStyleLbl="node1" presStyleIdx="1" presStyleCnt="2" custScaleY="5644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4FE1B9F-E17B-C84F-9145-046282489198}" type="pres">
      <dgm:prSet presAssocID="{D1DF3095-D836-724D-B098-B8ED0B0C5CED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95757F5-9071-AD49-97C2-088082A87960}" srcId="{D1DF3095-D836-724D-B098-B8ED0B0C5CED}" destId="{8E0FF66E-F5D5-E64C-9946-0E72D411432C}" srcOrd="1" destOrd="0" parTransId="{77D1A949-A27A-694A-AB84-B50D6414FA2D}" sibTransId="{368460FF-F266-4642-86E5-DDCAD92710EE}"/>
    <dgm:cxn modelId="{5C0DAB0F-C97B-AD4D-B602-A5B862480F1E}" type="presOf" srcId="{A53C2D0D-1C21-864A-8468-AA73E19473E6}" destId="{04FE1B9F-E17B-C84F-9145-046282489198}" srcOrd="0" destOrd="1" presId="urn:microsoft.com/office/officeart/2005/8/layout/vList2"/>
    <dgm:cxn modelId="{52EAE22A-F6BB-BE46-ACE0-9868F2F7BB9F}" srcId="{A808D78E-92E7-6441-B3DA-9F2497DF2E58}" destId="{5E9D53E9-C384-364B-85AA-8FB588B3A360}" srcOrd="0" destOrd="0" parTransId="{9DB17BDF-8CE3-6249-85A9-B6E91B2D5A5A}" sibTransId="{C05F549F-ECAA-F740-8DC4-693DC17119F6}"/>
    <dgm:cxn modelId="{2E5A4921-4961-2E40-94FE-5724EA81E5C1}" type="presOf" srcId="{5E9D53E9-C384-364B-85AA-8FB588B3A360}" destId="{33211614-1338-9643-BBE0-1571CD99DB0F}" srcOrd="0" destOrd="0" presId="urn:microsoft.com/office/officeart/2005/8/layout/vList2"/>
    <dgm:cxn modelId="{6479BA07-7E3A-E740-94F7-BEF15303E0DA}" type="presOf" srcId="{B34979D7-DAA9-ED44-AC24-979BBA7B840F}" destId="{80E6F9E2-55D4-A942-BFB0-2F6A9D677CE7}" srcOrd="0" destOrd="0" presId="urn:microsoft.com/office/officeart/2005/8/layout/vList2"/>
    <dgm:cxn modelId="{3CD9293C-C641-0140-A665-5011A06C88AC}" type="presOf" srcId="{8E0FF66E-F5D5-E64C-9946-0E72D411432C}" destId="{04FE1B9F-E17B-C84F-9145-046282489198}" srcOrd="0" destOrd="2" presId="urn:microsoft.com/office/officeart/2005/8/layout/vList2"/>
    <dgm:cxn modelId="{E61F3BC7-DD56-A74E-A3B5-ABC8FBEF9135}" type="presOf" srcId="{D1DF3095-D836-724D-B098-B8ED0B0C5CED}" destId="{25BD7C58-BD5D-8348-9F9B-A3B52122AD1E}" srcOrd="0" destOrd="0" presId="urn:microsoft.com/office/officeart/2005/8/layout/vList2"/>
    <dgm:cxn modelId="{6A05B6D8-1FE3-4C4A-A032-A30E1376D424}" srcId="{59365E4F-FC6E-824E-A76E-8CE8FE009AC7}" destId="{A53C2D0D-1C21-864A-8468-AA73E19473E6}" srcOrd="0" destOrd="0" parTransId="{1F8A3561-524F-A543-8DD5-F6BD48B32A27}" sibTransId="{2FB4F8E4-48EC-FB40-80F6-3FB203A77150}"/>
    <dgm:cxn modelId="{EB361BB8-0F4C-7541-99A0-72BC009F4972}" type="presOf" srcId="{59365E4F-FC6E-824E-A76E-8CE8FE009AC7}" destId="{04FE1B9F-E17B-C84F-9145-046282489198}" srcOrd="0" destOrd="0" presId="urn:microsoft.com/office/officeart/2005/8/layout/vList2"/>
    <dgm:cxn modelId="{9E912CDD-88C3-F048-9E14-AFAF46A3F64D}" srcId="{D1DF3095-D836-724D-B098-B8ED0B0C5CED}" destId="{59365E4F-FC6E-824E-A76E-8CE8FE009AC7}" srcOrd="0" destOrd="0" parTransId="{64B1ADA8-A657-2D4F-B32C-2CE5561E177B}" sibTransId="{0C31E182-19CA-064C-A02C-7BFB668FFDD0}"/>
    <dgm:cxn modelId="{F2930045-4D18-0E4B-8A56-D03709C45C2E}" type="presOf" srcId="{A808D78E-92E7-6441-B3DA-9F2497DF2E58}" destId="{2F388605-A345-204A-9E4B-28D3A38D2512}" srcOrd="0" destOrd="0" presId="urn:microsoft.com/office/officeart/2005/8/layout/vList2"/>
    <dgm:cxn modelId="{8AD4ED59-1DC3-E34D-B0FE-77E83401AFAD}" srcId="{B34979D7-DAA9-ED44-AC24-979BBA7B840F}" destId="{A808D78E-92E7-6441-B3DA-9F2497DF2E58}" srcOrd="0" destOrd="0" parTransId="{CE172D5A-D6A4-224A-9AD1-95C2AB038226}" sibTransId="{18CEB4A0-36BE-E045-90D7-5BB1354E36F5}"/>
    <dgm:cxn modelId="{C7376D3B-82EB-7943-9B0D-B5BF7951E4E7}" srcId="{B34979D7-DAA9-ED44-AC24-979BBA7B840F}" destId="{D1DF3095-D836-724D-B098-B8ED0B0C5CED}" srcOrd="1" destOrd="0" parTransId="{A0E9738E-72A5-BB43-96A9-188F75980962}" sibTransId="{A8EBE9BA-EEB8-ED4B-8424-936723B29255}"/>
    <dgm:cxn modelId="{564BBF3D-306E-4F4F-B3CE-C0E3FE0C88C9}" type="presParOf" srcId="{80E6F9E2-55D4-A942-BFB0-2F6A9D677CE7}" destId="{2F388605-A345-204A-9E4B-28D3A38D2512}" srcOrd="0" destOrd="0" presId="urn:microsoft.com/office/officeart/2005/8/layout/vList2"/>
    <dgm:cxn modelId="{42D135FD-D316-B243-AE87-4F54DAEBA6D4}" type="presParOf" srcId="{80E6F9E2-55D4-A942-BFB0-2F6A9D677CE7}" destId="{33211614-1338-9643-BBE0-1571CD99DB0F}" srcOrd="1" destOrd="0" presId="urn:microsoft.com/office/officeart/2005/8/layout/vList2"/>
    <dgm:cxn modelId="{1FA24DC3-2162-774D-A31A-E9E036DD417F}" type="presParOf" srcId="{80E6F9E2-55D4-A942-BFB0-2F6A9D677CE7}" destId="{25BD7C58-BD5D-8348-9F9B-A3B52122AD1E}" srcOrd="2" destOrd="0" presId="urn:microsoft.com/office/officeart/2005/8/layout/vList2"/>
    <dgm:cxn modelId="{F5865BC5-2AA1-E943-A826-C1EEBA7D4EC1}" type="presParOf" srcId="{80E6F9E2-55D4-A942-BFB0-2F6A9D677CE7}" destId="{04FE1B9F-E17B-C84F-9145-046282489198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5755FF9-B5F7-3548-A808-624FD75A0AFC}" type="doc">
      <dgm:prSet loTypeId="urn:microsoft.com/office/officeart/2005/8/layout/hProcess7" loCatId="process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62553EC-E5AF-9E4C-85FC-965B1FD31947}">
      <dgm:prSet/>
      <dgm:spPr/>
      <dgm:t>
        <a:bodyPr/>
        <a:lstStyle/>
        <a:p>
          <a:pPr rtl="0"/>
          <a:r>
            <a:rPr lang="en-US" dirty="0" smtClean="0"/>
            <a:t>Security comprises of</a:t>
          </a:r>
          <a:endParaRPr lang="en-US" dirty="0"/>
        </a:p>
      </dgm:t>
    </dgm:pt>
    <dgm:pt modelId="{91CEA79F-508F-124B-9D8F-F1EC22BCAA28}" type="parTrans" cxnId="{EA89FE05-1740-D343-8FFF-8F6B48E660A3}">
      <dgm:prSet/>
      <dgm:spPr/>
      <dgm:t>
        <a:bodyPr/>
        <a:lstStyle/>
        <a:p>
          <a:endParaRPr lang="en-US"/>
        </a:p>
      </dgm:t>
    </dgm:pt>
    <dgm:pt modelId="{EA49A88D-19D3-7A4E-ACB6-E735530018D6}" type="sibTrans" cxnId="{EA89FE05-1740-D343-8FFF-8F6B48E660A3}">
      <dgm:prSet/>
      <dgm:spPr/>
      <dgm:t>
        <a:bodyPr/>
        <a:lstStyle/>
        <a:p>
          <a:endParaRPr lang="en-US"/>
        </a:p>
      </dgm:t>
    </dgm:pt>
    <dgm:pt modelId="{C87AE8FF-94B2-AE46-874B-24B6D313CE12}">
      <dgm:prSet custT="1"/>
      <dgm:spPr/>
      <dgm:t>
        <a:bodyPr/>
        <a:lstStyle/>
        <a:p>
          <a:pPr rtl="0"/>
          <a:r>
            <a:rPr lang="en-US" sz="1800" dirty="0" smtClean="0"/>
            <a:t>Confidentiality</a:t>
          </a:r>
          <a:endParaRPr lang="en-US" sz="1800" dirty="0"/>
        </a:p>
      </dgm:t>
    </dgm:pt>
    <dgm:pt modelId="{8D093111-8CD4-5F47-BCA3-0643A8D38FED}" type="parTrans" cxnId="{347B7BD6-9F3F-F149-8599-2E82EFD97985}">
      <dgm:prSet/>
      <dgm:spPr/>
      <dgm:t>
        <a:bodyPr/>
        <a:lstStyle/>
        <a:p>
          <a:endParaRPr lang="en-US"/>
        </a:p>
      </dgm:t>
    </dgm:pt>
    <dgm:pt modelId="{87DDE920-50E6-3044-915B-6D47749CFDA7}" type="sibTrans" cxnId="{347B7BD6-9F3F-F149-8599-2E82EFD97985}">
      <dgm:prSet/>
      <dgm:spPr/>
      <dgm:t>
        <a:bodyPr/>
        <a:lstStyle/>
        <a:p>
          <a:endParaRPr lang="en-US"/>
        </a:p>
      </dgm:t>
    </dgm:pt>
    <dgm:pt modelId="{6436EC53-C2CC-A94B-8CF2-D51418BE305C}">
      <dgm:prSet custT="1"/>
      <dgm:spPr/>
      <dgm:t>
        <a:bodyPr/>
        <a:lstStyle/>
        <a:p>
          <a:pPr rtl="0"/>
          <a:r>
            <a:rPr lang="en-US" sz="1800" dirty="0" smtClean="0"/>
            <a:t>prevention of the unauthorized disclosure of information. E.g. Nobody except you should be able to access your income tax returns on an online tax-filing site</a:t>
          </a:r>
          <a:endParaRPr lang="en-US" sz="1800" dirty="0"/>
        </a:p>
      </dgm:t>
    </dgm:pt>
    <dgm:pt modelId="{84CC6351-A939-A84B-BD8F-4898457804D2}" type="parTrans" cxnId="{CB0551F5-76DD-D14B-B0FD-11E6AFEF96AA}">
      <dgm:prSet/>
      <dgm:spPr/>
      <dgm:t>
        <a:bodyPr/>
        <a:lstStyle/>
        <a:p>
          <a:endParaRPr lang="en-US"/>
        </a:p>
      </dgm:t>
    </dgm:pt>
    <dgm:pt modelId="{C0178C44-DB1E-DD4D-9CD8-F99F7999C1FE}" type="sibTrans" cxnId="{CB0551F5-76DD-D14B-B0FD-11E6AFEF96AA}">
      <dgm:prSet/>
      <dgm:spPr/>
      <dgm:t>
        <a:bodyPr/>
        <a:lstStyle/>
        <a:p>
          <a:endParaRPr lang="en-US"/>
        </a:p>
      </dgm:t>
    </dgm:pt>
    <dgm:pt modelId="{13ABE64B-8520-2B4B-B5B7-81AB9303836D}">
      <dgm:prSet custT="1"/>
      <dgm:spPr/>
      <dgm:t>
        <a:bodyPr/>
        <a:lstStyle/>
        <a:p>
          <a:pPr rtl="0"/>
          <a:r>
            <a:rPr lang="en-US" sz="1800" dirty="0" smtClean="0"/>
            <a:t>Integrity</a:t>
          </a:r>
          <a:endParaRPr lang="en-US" sz="1800" dirty="0"/>
        </a:p>
      </dgm:t>
    </dgm:pt>
    <dgm:pt modelId="{5E4A99F5-80C7-2145-9AA4-13EF640E52EF}" type="parTrans" cxnId="{6B3F8A9E-B588-EF49-9586-B5BF41AA8F39}">
      <dgm:prSet/>
      <dgm:spPr/>
      <dgm:t>
        <a:bodyPr/>
        <a:lstStyle/>
        <a:p>
          <a:endParaRPr lang="en-US"/>
        </a:p>
      </dgm:t>
    </dgm:pt>
    <dgm:pt modelId="{DA85E941-F6F6-0A43-963B-10A44735ABC2}" type="sibTrans" cxnId="{6B3F8A9E-B588-EF49-9586-B5BF41AA8F39}">
      <dgm:prSet/>
      <dgm:spPr/>
      <dgm:t>
        <a:bodyPr/>
        <a:lstStyle/>
        <a:p>
          <a:endParaRPr lang="en-US"/>
        </a:p>
      </dgm:t>
    </dgm:pt>
    <dgm:pt modelId="{C9B086E6-16F9-5649-AAFA-7C0B54508E7A}">
      <dgm:prSet custT="1"/>
      <dgm:spPr/>
      <dgm:t>
        <a:bodyPr/>
        <a:lstStyle/>
        <a:p>
          <a:pPr rtl="0"/>
          <a:r>
            <a:rPr lang="en-US" sz="1800" dirty="0" smtClean="0"/>
            <a:t>prevention of the unauthorized modification or deletion of information. E.g. your grade has not been changed since your instructor assigned it</a:t>
          </a:r>
          <a:endParaRPr lang="en-US" sz="1800" dirty="0"/>
        </a:p>
      </dgm:t>
    </dgm:pt>
    <dgm:pt modelId="{BC672FFD-BA8F-7449-BBFA-7128A70BD136}" type="parTrans" cxnId="{58937417-B1FC-E740-8D4B-5EB698503D58}">
      <dgm:prSet/>
      <dgm:spPr/>
      <dgm:t>
        <a:bodyPr/>
        <a:lstStyle/>
        <a:p>
          <a:endParaRPr lang="en-US"/>
        </a:p>
      </dgm:t>
    </dgm:pt>
    <dgm:pt modelId="{65580846-D808-0A44-8081-9C51C404B6DD}" type="sibTrans" cxnId="{58937417-B1FC-E740-8D4B-5EB698503D58}">
      <dgm:prSet/>
      <dgm:spPr/>
      <dgm:t>
        <a:bodyPr/>
        <a:lstStyle/>
        <a:p>
          <a:endParaRPr lang="en-US"/>
        </a:p>
      </dgm:t>
    </dgm:pt>
    <dgm:pt modelId="{C4D7B8E0-896B-9F46-974F-3AC8BCD41806}">
      <dgm:prSet custT="1"/>
      <dgm:spPr/>
      <dgm:t>
        <a:bodyPr/>
        <a:lstStyle/>
        <a:p>
          <a:pPr rtl="0"/>
          <a:r>
            <a:rPr lang="en-US" sz="1800" dirty="0" smtClean="0"/>
            <a:t>Availability</a:t>
          </a:r>
          <a:endParaRPr lang="en-US" sz="1800" dirty="0"/>
        </a:p>
      </dgm:t>
    </dgm:pt>
    <dgm:pt modelId="{189DC9C9-585E-B54E-A767-0FF84FBF2A40}" type="parTrans" cxnId="{8B83741B-0E14-3342-AC86-639A0FD5EDFE}">
      <dgm:prSet/>
      <dgm:spPr/>
      <dgm:t>
        <a:bodyPr/>
        <a:lstStyle/>
        <a:p>
          <a:endParaRPr lang="en-US"/>
        </a:p>
      </dgm:t>
    </dgm:pt>
    <dgm:pt modelId="{9A1C9B27-F93D-4B47-9253-7F410CDA623F}" type="sibTrans" cxnId="{8B83741B-0E14-3342-AC86-639A0FD5EDFE}">
      <dgm:prSet/>
      <dgm:spPr/>
      <dgm:t>
        <a:bodyPr/>
        <a:lstStyle/>
        <a:p>
          <a:endParaRPr lang="en-US"/>
        </a:p>
      </dgm:t>
    </dgm:pt>
    <dgm:pt modelId="{0C50C5BF-F539-1945-98A1-D00968EF4D73}">
      <dgm:prSet custT="1"/>
      <dgm:spPr/>
      <dgm:t>
        <a:bodyPr/>
        <a:lstStyle/>
        <a:p>
          <a:pPr rtl="0"/>
          <a:r>
            <a:rPr lang="en-US" sz="1800" dirty="0" smtClean="0"/>
            <a:t>prevention of the unauthorized withholding of information – e.g. </a:t>
          </a:r>
          <a:r>
            <a:rPr lang="en-US" sz="1800" dirty="0" err="1" smtClean="0"/>
            <a:t>DoS</a:t>
          </a:r>
          <a:r>
            <a:rPr lang="en-US" sz="1800" dirty="0" smtClean="0"/>
            <a:t> attack should not prevent you from booking railway ticket</a:t>
          </a:r>
          <a:endParaRPr lang="en-US" sz="1800" dirty="0"/>
        </a:p>
      </dgm:t>
    </dgm:pt>
    <dgm:pt modelId="{88C26E34-A8D1-AA46-9B7E-9C650FA01B9F}" type="parTrans" cxnId="{A21622DB-9A3B-7648-8715-E395D84F5985}">
      <dgm:prSet/>
      <dgm:spPr/>
      <dgm:t>
        <a:bodyPr/>
        <a:lstStyle/>
        <a:p>
          <a:endParaRPr lang="en-US"/>
        </a:p>
      </dgm:t>
    </dgm:pt>
    <dgm:pt modelId="{39F7AE6E-5ED2-E644-9CF1-76F45046CCBF}" type="sibTrans" cxnId="{A21622DB-9A3B-7648-8715-E395D84F5985}">
      <dgm:prSet/>
      <dgm:spPr/>
      <dgm:t>
        <a:bodyPr/>
        <a:lstStyle/>
        <a:p>
          <a:endParaRPr lang="en-US"/>
        </a:p>
      </dgm:t>
    </dgm:pt>
    <dgm:pt modelId="{F4FDE692-F362-8541-9F3C-E31307240DE1}">
      <dgm:prSet/>
      <dgm:spPr/>
      <dgm:t>
        <a:bodyPr/>
        <a:lstStyle/>
        <a:p>
          <a:pPr rtl="0"/>
          <a:r>
            <a:rPr lang="en-US" dirty="0" smtClean="0"/>
            <a:t>Important aspects of Security</a:t>
          </a:r>
          <a:endParaRPr lang="en-US" dirty="0"/>
        </a:p>
      </dgm:t>
    </dgm:pt>
    <dgm:pt modelId="{519BFDB5-14EA-6044-9A5C-7B521D2EEAA4}" type="parTrans" cxnId="{EE0FBCDF-5853-4140-B798-6CF088EA4D17}">
      <dgm:prSet/>
      <dgm:spPr/>
      <dgm:t>
        <a:bodyPr/>
        <a:lstStyle/>
        <a:p>
          <a:endParaRPr lang="en-US"/>
        </a:p>
      </dgm:t>
    </dgm:pt>
    <dgm:pt modelId="{1FD205C8-E291-C244-8EA2-5097934D548A}" type="sibTrans" cxnId="{EE0FBCDF-5853-4140-B798-6CF088EA4D17}">
      <dgm:prSet/>
      <dgm:spPr/>
      <dgm:t>
        <a:bodyPr/>
        <a:lstStyle/>
        <a:p>
          <a:endParaRPr lang="en-US"/>
        </a:p>
      </dgm:t>
    </dgm:pt>
    <dgm:pt modelId="{CFD016B3-0DE4-7944-9680-D632A64B0D98}">
      <dgm:prSet custT="1"/>
      <dgm:spPr/>
      <dgm:t>
        <a:bodyPr/>
        <a:lstStyle/>
        <a:p>
          <a:pPr rtl="0"/>
          <a:r>
            <a:rPr lang="en-US" sz="1800" dirty="0" smtClean="0"/>
            <a:t>Non repudiation::  An activity (say a transaction) can’t be denied by any of the parties involved. E.g.</a:t>
          </a:r>
          <a:r>
            <a:rPr lang="x-none" sz="1800" dirty="0" smtClean="0"/>
            <a:t> you cannot </a:t>
          </a:r>
          <a:r>
            <a:rPr lang="en-US" sz="1800" dirty="0" smtClean="0"/>
            <a:t>deny </a:t>
          </a:r>
          <a:r>
            <a:rPr lang="x-none" sz="1800" dirty="0" smtClean="0"/>
            <a:t>ordering something from the </a:t>
          </a:r>
          <a:r>
            <a:rPr lang="en-US" sz="1800" dirty="0" smtClean="0"/>
            <a:t>I</a:t>
          </a:r>
          <a:r>
            <a:rPr lang="x-none" sz="1800" dirty="0" smtClean="0"/>
            <a:t>nternet</a:t>
          </a:r>
          <a:r>
            <a:rPr lang="en-US" sz="1800" dirty="0" smtClean="0"/>
            <a:t>, or </a:t>
          </a:r>
          <a:r>
            <a:rPr lang="x-none" sz="1800" dirty="0" smtClean="0"/>
            <a:t>the merchant cannot </a:t>
          </a:r>
          <a:r>
            <a:rPr lang="en-US" sz="1800" dirty="0" smtClean="0"/>
            <a:t>disclaim </a:t>
          </a:r>
          <a:r>
            <a:rPr lang="x-none" sz="1800" dirty="0" smtClean="0"/>
            <a:t>getting your order.</a:t>
          </a:r>
          <a:endParaRPr lang="en-US" sz="1800" dirty="0"/>
        </a:p>
      </dgm:t>
    </dgm:pt>
    <dgm:pt modelId="{C0A98427-7685-E74D-895A-9D3722B31571}" type="parTrans" cxnId="{92D46E14-3576-BF49-AE0F-00EA23BB7FE2}">
      <dgm:prSet/>
      <dgm:spPr/>
      <dgm:t>
        <a:bodyPr/>
        <a:lstStyle/>
        <a:p>
          <a:endParaRPr lang="en-US"/>
        </a:p>
      </dgm:t>
    </dgm:pt>
    <dgm:pt modelId="{6BE8ADB5-D670-0D48-8BB4-78F1D2166F89}" type="sibTrans" cxnId="{92D46E14-3576-BF49-AE0F-00EA23BB7FE2}">
      <dgm:prSet/>
      <dgm:spPr/>
      <dgm:t>
        <a:bodyPr/>
        <a:lstStyle/>
        <a:p>
          <a:endParaRPr lang="en-US"/>
        </a:p>
      </dgm:t>
    </dgm:pt>
    <dgm:pt modelId="{533691A6-4BBE-0845-B452-75F20073859F}">
      <dgm:prSet custT="1"/>
      <dgm:spPr/>
      <dgm:t>
        <a:bodyPr/>
        <a:lstStyle/>
        <a:p>
          <a:pPr rtl="0"/>
          <a:r>
            <a:rPr lang="en-US" sz="1800" dirty="0" smtClean="0"/>
            <a:t>Assurance:: Parties in an </a:t>
          </a:r>
          <a:r>
            <a:rPr lang="en-US" sz="1800" dirty="0" smtClean="0"/>
            <a:t>activity </a:t>
          </a:r>
          <a:r>
            <a:rPr lang="en-US" sz="1800" dirty="0" smtClean="0"/>
            <a:t>are assured to be who they purport to be. Typically done through authentication. E.g. if you get an email purporting to come from a bank, it is indeed from  a bank.</a:t>
          </a:r>
          <a:endParaRPr lang="en-US" sz="1800" dirty="0"/>
        </a:p>
      </dgm:t>
    </dgm:pt>
    <dgm:pt modelId="{A6A483C0-4411-8F40-9831-BC267B295F5E}" type="parTrans" cxnId="{FA4A9020-6F5D-3D46-A9BF-B8B6836DB5E6}">
      <dgm:prSet/>
      <dgm:spPr/>
      <dgm:t>
        <a:bodyPr/>
        <a:lstStyle/>
        <a:p>
          <a:endParaRPr lang="en-US"/>
        </a:p>
      </dgm:t>
    </dgm:pt>
    <dgm:pt modelId="{2D3014E1-C22C-9D4A-BAAC-B66BCBFD082E}" type="sibTrans" cxnId="{FA4A9020-6F5D-3D46-A9BF-B8B6836DB5E6}">
      <dgm:prSet/>
      <dgm:spPr/>
      <dgm:t>
        <a:bodyPr/>
        <a:lstStyle/>
        <a:p>
          <a:endParaRPr lang="en-US"/>
        </a:p>
      </dgm:t>
    </dgm:pt>
    <dgm:pt modelId="{DDC2FB29-E88C-C84E-882A-424E0B74121A}">
      <dgm:prSet custT="1"/>
      <dgm:spPr/>
      <dgm:t>
        <a:bodyPr/>
        <a:lstStyle/>
        <a:p>
          <a:pPr rtl="0"/>
          <a:r>
            <a:rPr lang="en-US" sz="1800" dirty="0" smtClean="0"/>
            <a:t>Auditing:: System tracks activities so that it can be reconstructed later</a:t>
          </a:r>
          <a:endParaRPr lang="en-US" sz="1800" dirty="0"/>
        </a:p>
      </dgm:t>
    </dgm:pt>
    <dgm:pt modelId="{AFCD50FF-B631-E247-9294-79E42BC93F18}" type="parTrans" cxnId="{D8700347-24C3-EF4E-9FE5-FFC4C00B9FEA}">
      <dgm:prSet/>
      <dgm:spPr/>
      <dgm:t>
        <a:bodyPr/>
        <a:lstStyle/>
        <a:p>
          <a:endParaRPr lang="en-US"/>
        </a:p>
      </dgm:t>
    </dgm:pt>
    <dgm:pt modelId="{5B248869-A512-9645-B2F5-7EDA522DB687}" type="sibTrans" cxnId="{D8700347-24C3-EF4E-9FE5-FFC4C00B9FEA}">
      <dgm:prSet/>
      <dgm:spPr/>
      <dgm:t>
        <a:bodyPr/>
        <a:lstStyle/>
        <a:p>
          <a:endParaRPr lang="en-US"/>
        </a:p>
      </dgm:t>
    </dgm:pt>
    <dgm:pt modelId="{C5915576-FAAD-EB42-8491-C6E9A54021B6}">
      <dgm:prSet custT="1"/>
      <dgm:spPr/>
      <dgm:t>
        <a:bodyPr/>
        <a:lstStyle/>
        <a:p>
          <a:pPr rtl="0"/>
          <a:r>
            <a:rPr lang="x-none" sz="1800" dirty="0" smtClean="0"/>
            <a:t>Authorization </a:t>
          </a:r>
          <a:r>
            <a:rPr lang="en-US" sz="1800" dirty="0" smtClean="0"/>
            <a:t>grants </a:t>
          </a:r>
          <a:r>
            <a:rPr lang="x-none" sz="1800" dirty="0" smtClean="0"/>
            <a:t>a user the privileges to perform a task. For example, </a:t>
          </a:r>
          <a:r>
            <a:rPr lang="en-US" sz="1800" dirty="0" smtClean="0"/>
            <a:t>an online banking system authorizes a legitimate user to access his account</a:t>
          </a:r>
          <a:r>
            <a:rPr lang="x-none" sz="1800" dirty="0" smtClean="0"/>
            <a:t>.</a:t>
          </a:r>
          <a:endParaRPr lang="en-US" sz="1800" dirty="0"/>
        </a:p>
      </dgm:t>
    </dgm:pt>
    <dgm:pt modelId="{57B4351A-C11A-A64E-8510-6C83FCB00474}" type="parTrans" cxnId="{DFDA2A73-DF9C-B541-9629-6E500B45AC2D}">
      <dgm:prSet/>
      <dgm:spPr/>
      <dgm:t>
        <a:bodyPr/>
        <a:lstStyle/>
        <a:p>
          <a:endParaRPr lang="en-US"/>
        </a:p>
      </dgm:t>
    </dgm:pt>
    <dgm:pt modelId="{8873437D-F6B4-0E4F-8A34-398EDA47CAF2}" type="sibTrans" cxnId="{DFDA2A73-DF9C-B541-9629-6E500B45AC2D}">
      <dgm:prSet/>
      <dgm:spPr/>
      <dgm:t>
        <a:bodyPr/>
        <a:lstStyle/>
        <a:p>
          <a:endParaRPr lang="en-US"/>
        </a:p>
      </dgm:t>
    </dgm:pt>
    <dgm:pt modelId="{3C2BC80F-7EE4-3C4D-8EF7-DB66BD3D4E7B}" type="pres">
      <dgm:prSet presAssocID="{C5755FF9-B5F7-3548-A808-624FD75A0AFC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C262CAB-78DC-FF42-974C-E25521BE7CC7}" type="pres">
      <dgm:prSet presAssocID="{062553EC-E5AF-9E4C-85FC-965B1FD31947}" presName="compositeNode" presStyleCnt="0">
        <dgm:presLayoutVars>
          <dgm:bulletEnabled val="1"/>
        </dgm:presLayoutVars>
      </dgm:prSet>
      <dgm:spPr/>
    </dgm:pt>
    <dgm:pt modelId="{3C6B03D3-B558-D24C-9A50-B32C4D475D72}" type="pres">
      <dgm:prSet presAssocID="{062553EC-E5AF-9E4C-85FC-965B1FD31947}" presName="bgRect" presStyleLbl="node1" presStyleIdx="0" presStyleCnt="2"/>
      <dgm:spPr/>
      <dgm:t>
        <a:bodyPr/>
        <a:lstStyle/>
        <a:p>
          <a:endParaRPr lang="en-US"/>
        </a:p>
      </dgm:t>
    </dgm:pt>
    <dgm:pt modelId="{AB458743-AD93-3A4F-BD74-FA9076B1880F}" type="pres">
      <dgm:prSet presAssocID="{062553EC-E5AF-9E4C-85FC-965B1FD31947}" presName="parentNode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6CD90F-10E0-7344-8A7D-E17D8C31353A}" type="pres">
      <dgm:prSet presAssocID="{062553EC-E5AF-9E4C-85FC-965B1FD31947}" presName="child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3C300B-B6F5-7C44-A954-58DDEBB3B11F}" type="pres">
      <dgm:prSet presAssocID="{EA49A88D-19D3-7A4E-ACB6-E735530018D6}" presName="hSp" presStyleCnt="0"/>
      <dgm:spPr/>
    </dgm:pt>
    <dgm:pt modelId="{EE7B0966-B686-7348-A12A-7C1630F7CADD}" type="pres">
      <dgm:prSet presAssocID="{EA49A88D-19D3-7A4E-ACB6-E735530018D6}" presName="vProcSp" presStyleCnt="0"/>
      <dgm:spPr/>
    </dgm:pt>
    <dgm:pt modelId="{F254C6CB-6ACD-FD47-88DD-343EB04B9094}" type="pres">
      <dgm:prSet presAssocID="{EA49A88D-19D3-7A4E-ACB6-E735530018D6}" presName="vSp1" presStyleCnt="0"/>
      <dgm:spPr/>
    </dgm:pt>
    <dgm:pt modelId="{D760B72C-FAEE-F247-AA70-3034A714237E}" type="pres">
      <dgm:prSet presAssocID="{EA49A88D-19D3-7A4E-ACB6-E735530018D6}" presName="simulatedConn" presStyleLbl="solidFgAcc1" presStyleIdx="0" presStyleCnt="1"/>
      <dgm:spPr/>
    </dgm:pt>
    <dgm:pt modelId="{78407C40-7EE7-C140-9077-0A769FFED7A0}" type="pres">
      <dgm:prSet presAssocID="{EA49A88D-19D3-7A4E-ACB6-E735530018D6}" presName="vSp2" presStyleCnt="0"/>
      <dgm:spPr/>
    </dgm:pt>
    <dgm:pt modelId="{57D9455C-F4DB-E343-9BDC-B482AC27AD6E}" type="pres">
      <dgm:prSet presAssocID="{EA49A88D-19D3-7A4E-ACB6-E735530018D6}" presName="sibTrans" presStyleCnt="0"/>
      <dgm:spPr/>
    </dgm:pt>
    <dgm:pt modelId="{B249E1D9-3850-5040-9D07-AAAF097D179C}" type="pres">
      <dgm:prSet presAssocID="{F4FDE692-F362-8541-9F3C-E31307240DE1}" presName="compositeNode" presStyleCnt="0">
        <dgm:presLayoutVars>
          <dgm:bulletEnabled val="1"/>
        </dgm:presLayoutVars>
      </dgm:prSet>
      <dgm:spPr/>
    </dgm:pt>
    <dgm:pt modelId="{9B427739-16C8-014B-9E87-7AA2D7879E7B}" type="pres">
      <dgm:prSet presAssocID="{F4FDE692-F362-8541-9F3C-E31307240DE1}" presName="bgRect" presStyleLbl="node1" presStyleIdx="1" presStyleCnt="2"/>
      <dgm:spPr/>
      <dgm:t>
        <a:bodyPr/>
        <a:lstStyle/>
        <a:p>
          <a:endParaRPr lang="en-US"/>
        </a:p>
      </dgm:t>
    </dgm:pt>
    <dgm:pt modelId="{AFD6516A-845E-534A-AC23-474EA40BD305}" type="pres">
      <dgm:prSet presAssocID="{F4FDE692-F362-8541-9F3C-E31307240DE1}" presName="parentNode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A2CB44A-DD69-9F43-92A3-47F1E7ED335A}" type="pres">
      <dgm:prSet presAssocID="{F4FDE692-F362-8541-9F3C-E31307240DE1}" presName="child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39A7B6A-BA4D-3B4E-9E03-6471AA4DA585}" type="presOf" srcId="{CFD016B3-0DE4-7944-9680-D632A64B0D98}" destId="{1A2CB44A-DD69-9F43-92A3-47F1E7ED335A}" srcOrd="0" destOrd="0" presId="urn:microsoft.com/office/officeart/2005/8/layout/hProcess7"/>
    <dgm:cxn modelId="{39D0258E-5CC1-3142-8878-0E7822321565}" type="presOf" srcId="{C5915576-FAAD-EB42-8491-C6E9A54021B6}" destId="{1A2CB44A-DD69-9F43-92A3-47F1E7ED335A}" srcOrd="0" destOrd="3" presId="urn:microsoft.com/office/officeart/2005/8/layout/hProcess7"/>
    <dgm:cxn modelId="{3D65932C-9B1F-9542-8B36-E04880717399}" type="presOf" srcId="{C87AE8FF-94B2-AE46-874B-24B6D313CE12}" destId="{516CD90F-10E0-7344-8A7D-E17D8C31353A}" srcOrd="0" destOrd="0" presId="urn:microsoft.com/office/officeart/2005/8/layout/hProcess7"/>
    <dgm:cxn modelId="{368CC0EC-1198-804B-B3BC-7BBB85D26292}" type="presOf" srcId="{062553EC-E5AF-9E4C-85FC-965B1FD31947}" destId="{AB458743-AD93-3A4F-BD74-FA9076B1880F}" srcOrd="1" destOrd="0" presId="urn:microsoft.com/office/officeart/2005/8/layout/hProcess7"/>
    <dgm:cxn modelId="{5149C41C-7FEB-1743-B10D-BB061E337235}" type="presOf" srcId="{F4FDE692-F362-8541-9F3C-E31307240DE1}" destId="{9B427739-16C8-014B-9E87-7AA2D7879E7B}" srcOrd="0" destOrd="0" presId="urn:microsoft.com/office/officeart/2005/8/layout/hProcess7"/>
    <dgm:cxn modelId="{CB0551F5-76DD-D14B-B0FD-11E6AFEF96AA}" srcId="{C87AE8FF-94B2-AE46-874B-24B6D313CE12}" destId="{6436EC53-C2CC-A94B-8CF2-D51418BE305C}" srcOrd="0" destOrd="0" parTransId="{84CC6351-A939-A84B-BD8F-4898457804D2}" sibTransId="{C0178C44-DB1E-DD4D-9CD8-F99F7999C1FE}"/>
    <dgm:cxn modelId="{0DC262F7-3CBB-A045-8C4E-8AFB169BF2EB}" type="presOf" srcId="{062553EC-E5AF-9E4C-85FC-965B1FD31947}" destId="{3C6B03D3-B558-D24C-9A50-B32C4D475D72}" srcOrd="0" destOrd="0" presId="urn:microsoft.com/office/officeart/2005/8/layout/hProcess7"/>
    <dgm:cxn modelId="{5DD76524-22F4-FF4C-8F9B-68F7C2DE332E}" type="presOf" srcId="{C4D7B8E0-896B-9F46-974F-3AC8BCD41806}" destId="{516CD90F-10E0-7344-8A7D-E17D8C31353A}" srcOrd="0" destOrd="4" presId="urn:microsoft.com/office/officeart/2005/8/layout/hProcess7"/>
    <dgm:cxn modelId="{07962DED-B426-0B46-A1D0-FCF82B507734}" type="presOf" srcId="{6436EC53-C2CC-A94B-8CF2-D51418BE305C}" destId="{516CD90F-10E0-7344-8A7D-E17D8C31353A}" srcOrd="0" destOrd="1" presId="urn:microsoft.com/office/officeart/2005/8/layout/hProcess7"/>
    <dgm:cxn modelId="{92D46E14-3576-BF49-AE0F-00EA23BB7FE2}" srcId="{F4FDE692-F362-8541-9F3C-E31307240DE1}" destId="{CFD016B3-0DE4-7944-9680-D632A64B0D98}" srcOrd="0" destOrd="0" parTransId="{C0A98427-7685-E74D-895A-9D3722B31571}" sibTransId="{6BE8ADB5-D670-0D48-8BB4-78F1D2166F89}"/>
    <dgm:cxn modelId="{5EA8412D-7926-3E4D-83C2-C53A49A27CD8}" type="presOf" srcId="{C5755FF9-B5F7-3548-A808-624FD75A0AFC}" destId="{3C2BC80F-7EE4-3C4D-8EF7-DB66BD3D4E7B}" srcOrd="0" destOrd="0" presId="urn:microsoft.com/office/officeart/2005/8/layout/hProcess7"/>
    <dgm:cxn modelId="{E4CEE36C-C359-854B-B30A-F79E2AF07125}" type="presOf" srcId="{0C50C5BF-F539-1945-98A1-D00968EF4D73}" destId="{516CD90F-10E0-7344-8A7D-E17D8C31353A}" srcOrd="0" destOrd="5" presId="urn:microsoft.com/office/officeart/2005/8/layout/hProcess7"/>
    <dgm:cxn modelId="{B1BF0AF8-38F2-BA4F-B385-8252DF36EC96}" type="presOf" srcId="{C9B086E6-16F9-5649-AAFA-7C0B54508E7A}" destId="{516CD90F-10E0-7344-8A7D-E17D8C31353A}" srcOrd="0" destOrd="3" presId="urn:microsoft.com/office/officeart/2005/8/layout/hProcess7"/>
    <dgm:cxn modelId="{347B7BD6-9F3F-F149-8599-2E82EFD97985}" srcId="{062553EC-E5AF-9E4C-85FC-965B1FD31947}" destId="{C87AE8FF-94B2-AE46-874B-24B6D313CE12}" srcOrd="0" destOrd="0" parTransId="{8D093111-8CD4-5F47-BCA3-0643A8D38FED}" sibTransId="{87DDE920-50E6-3044-915B-6D47749CFDA7}"/>
    <dgm:cxn modelId="{A21622DB-9A3B-7648-8715-E395D84F5985}" srcId="{C4D7B8E0-896B-9F46-974F-3AC8BCD41806}" destId="{0C50C5BF-F539-1945-98A1-D00968EF4D73}" srcOrd="0" destOrd="0" parTransId="{88C26E34-A8D1-AA46-9B7E-9C650FA01B9F}" sibTransId="{39F7AE6E-5ED2-E644-9CF1-76F45046CCBF}"/>
    <dgm:cxn modelId="{EA89FE05-1740-D343-8FFF-8F6B48E660A3}" srcId="{C5755FF9-B5F7-3548-A808-624FD75A0AFC}" destId="{062553EC-E5AF-9E4C-85FC-965B1FD31947}" srcOrd="0" destOrd="0" parTransId="{91CEA79F-508F-124B-9D8F-F1EC22BCAA28}" sibTransId="{EA49A88D-19D3-7A4E-ACB6-E735530018D6}"/>
    <dgm:cxn modelId="{4E5C8892-CC7A-7746-A75C-03579B200E82}" type="presOf" srcId="{533691A6-4BBE-0845-B452-75F20073859F}" destId="{1A2CB44A-DD69-9F43-92A3-47F1E7ED335A}" srcOrd="0" destOrd="1" presId="urn:microsoft.com/office/officeart/2005/8/layout/hProcess7"/>
    <dgm:cxn modelId="{8556EAF2-506A-7944-B355-DF474F06BBA0}" type="presOf" srcId="{F4FDE692-F362-8541-9F3C-E31307240DE1}" destId="{AFD6516A-845E-534A-AC23-474EA40BD305}" srcOrd="1" destOrd="0" presId="urn:microsoft.com/office/officeart/2005/8/layout/hProcess7"/>
    <dgm:cxn modelId="{E792FFD6-3A10-1D4E-9DE4-76A7D0B35EEF}" type="presOf" srcId="{DDC2FB29-E88C-C84E-882A-424E0B74121A}" destId="{1A2CB44A-DD69-9F43-92A3-47F1E7ED335A}" srcOrd="0" destOrd="2" presId="urn:microsoft.com/office/officeart/2005/8/layout/hProcess7"/>
    <dgm:cxn modelId="{8B83741B-0E14-3342-AC86-639A0FD5EDFE}" srcId="{062553EC-E5AF-9E4C-85FC-965B1FD31947}" destId="{C4D7B8E0-896B-9F46-974F-3AC8BCD41806}" srcOrd="2" destOrd="0" parTransId="{189DC9C9-585E-B54E-A767-0FF84FBF2A40}" sibTransId="{9A1C9B27-F93D-4B47-9253-7F410CDA623F}"/>
    <dgm:cxn modelId="{58937417-B1FC-E740-8D4B-5EB698503D58}" srcId="{13ABE64B-8520-2B4B-B5B7-81AB9303836D}" destId="{C9B086E6-16F9-5649-AAFA-7C0B54508E7A}" srcOrd="0" destOrd="0" parTransId="{BC672FFD-BA8F-7449-BBFA-7128A70BD136}" sibTransId="{65580846-D808-0A44-8081-9C51C404B6DD}"/>
    <dgm:cxn modelId="{401183DC-5338-5D48-BFE7-31A1BE70E305}" type="presOf" srcId="{13ABE64B-8520-2B4B-B5B7-81AB9303836D}" destId="{516CD90F-10E0-7344-8A7D-E17D8C31353A}" srcOrd="0" destOrd="2" presId="urn:microsoft.com/office/officeart/2005/8/layout/hProcess7"/>
    <dgm:cxn modelId="{EE0FBCDF-5853-4140-B798-6CF088EA4D17}" srcId="{C5755FF9-B5F7-3548-A808-624FD75A0AFC}" destId="{F4FDE692-F362-8541-9F3C-E31307240DE1}" srcOrd="1" destOrd="0" parTransId="{519BFDB5-14EA-6044-9A5C-7B521D2EEAA4}" sibTransId="{1FD205C8-E291-C244-8EA2-5097934D548A}"/>
    <dgm:cxn modelId="{DFDA2A73-DF9C-B541-9629-6E500B45AC2D}" srcId="{F4FDE692-F362-8541-9F3C-E31307240DE1}" destId="{C5915576-FAAD-EB42-8491-C6E9A54021B6}" srcOrd="3" destOrd="0" parTransId="{57B4351A-C11A-A64E-8510-6C83FCB00474}" sibTransId="{8873437D-F6B4-0E4F-8A34-398EDA47CAF2}"/>
    <dgm:cxn modelId="{6B3F8A9E-B588-EF49-9586-B5BF41AA8F39}" srcId="{062553EC-E5AF-9E4C-85FC-965B1FD31947}" destId="{13ABE64B-8520-2B4B-B5B7-81AB9303836D}" srcOrd="1" destOrd="0" parTransId="{5E4A99F5-80C7-2145-9AA4-13EF640E52EF}" sibTransId="{DA85E941-F6F6-0A43-963B-10A44735ABC2}"/>
    <dgm:cxn modelId="{D8700347-24C3-EF4E-9FE5-FFC4C00B9FEA}" srcId="{F4FDE692-F362-8541-9F3C-E31307240DE1}" destId="{DDC2FB29-E88C-C84E-882A-424E0B74121A}" srcOrd="2" destOrd="0" parTransId="{AFCD50FF-B631-E247-9294-79E42BC93F18}" sibTransId="{5B248869-A512-9645-B2F5-7EDA522DB687}"/>
    <dgm:cxn modelId="{FA4A9020-6F5D-3D46-A9BF-B8B6836DB5E6}" srcId="{F4FDE692-F362-8541-9F3C-E31307240DE1}" destId="{533691A6-4BBE-0845-B452-75F20073859F}" srcOrd="1" destOrd="0" parTransId="{A6A483C0-4411-8F40-9831-BC267B295F5E}" sibTransId="{2D3014E1-C22C-9D4A-BAAC-B66BCBFD082E}"/>
    <dgm:cxn modelId="{F3131818-F537-9E48-8669-596BD1EA6FA6}" type="presParOf" srcId="{3C2BC80F-7EE4-3C4D-8EF7-DB66BD3D4E7B}" destId="{AC262CAB-78DC-FF42-974C-E25521BE7CC7}" srcOrd="0" destOrd="0" presId="urn:microsoft.com/office/officeart/2005/8/layout/hProcess7"/>
    <dgm:cxn modelId="{B7FE212F-05DC-CF47-9B29-796A9F35ADB0}" type="presParOf" srcId="{AC262CAB-78DC-FF42-974C-E25521BE7CC7}" destId="{3C6B03D3-B558-D24C-9A50-B32C4D475D72}" srcOrd="0" destOrd="0" presId="urn:microsoft.com/office/officeart/2005/8/layout/hProcess7"/>
    <dgm:cxn modelId="{E16A5757-14CA-8949-8225-FBEA0C26EB07}" type="presParOf" srcId="{AC262CAB-78DC-FF42-974C-E25521BE7CC7}" destId="{AB458743-AD93-3A4F-BD74-FA9076B1880F}" srcOrd="1" destOrd="0" presId="urn:microsoft.com/office/officeart/2005/8/layout/hProcess7"/>
    <dgm:cxn modelId="{C4B375E1-A7C6-9A4F-B584-665EC92C038C}" type="presParOf" srcId="{AC262CAB-78DC-FF42-974C-E25521BE7CC7}" destId="{516CD90F-10E0-7344-8A7D-E17D8C31353A}" srcOrd="2" destOrd="0" presId="urn:microsoft.com/office/officeart/2005/8/layout/hProcess7"/>
    <dgm:cxn modelId="{CED76F27-FC3C-324D-BE7B-18BA8D41CEC4}" type="presParOf" srcId="{3C2BC80F-7EE4-3C4D-8EF7-DB66BD3D4E7B}" destId="{8C3C300B-B6F5-7C44-A954-58DDEBB3B11F}" srcOrd="1" destOrd="0" presId="urn:microsoft.com/office/officeart/2005/8/layout/hProcess7"/>
    <dgm:cxn modelId="{B9807105-3EBA-2A4A-9613-B8221DD9A908}" type="presParOf" srcId="{3C2BC80F-7EE4-3C4D-8EF7-DB66BD3D4E7B}" destId="{EE7B0966-B686-7348-A12A-7C1630F7CADD}" srcOrd="2" destOrd="0" presId="urn:microsoft.com/office/officeart/2005/8/layout/hProcess7"/>
    <dgm:cxn modelId="{54E0C204-A96A-1E45-97B9-5D998FF50903}" type="presParOf" srcId="{EE7B0966-B686-7348-A12A-7C1630F7CADD}" destId="{F254C6CB-6ACD-FD47-88DD-343EB04B9094}" srcOrd="0" destOrd="0" presId="urn:microsoft.com/office/officeart/2005/8/layout/hProcess7"/>
    <dgm:cxn modelId="{5F746671-BD6C-614D-A409-DC8AE90953E1}" type="presParOf" srcId="{EE7B0966-B686-7348-A12A-7C1630F7CADD}" destId="{D760B72C-FAEE-F247-AA70-3034A714237E}" srcOrd="1" destOrd="0" presId="urn:microsoft.com/office/officeart/2005/8/layout/hProcess7"/>
    <dgm:cxn modelId="{CA97FDC7-4AB1-4C42-ACBD-DD0E65579D95}" type="presParOf" srcId="{EE7B0966-B686-7348-A12A-7C1630F7CADD}" destId="{78407C40-7EE7-C140-9077-0A769FFED7A0}" srcOrd="2" destOrd="0" presId="urn:microsoft.com/office/officeart/2005/8/layout/hProcess7"/>
    <dgm:cxn modelId="{E08E6F17-BF24-9741-AB9B-21B5372E54A7}" type="presParOf" srcId="{3C2BC80F-7EE4-3C4D-8EF7-DB66BD3D4E7B}" destId="{57D9455C-F4DB-E343-9BDC-B482AC27AD6E}" srcOrd="3" destOrd="0" presId="urn:microsoft.com/office/officeart/2005/8/layout/hProcess7"/>
    <dgm:cxn modelId="{9FF9B640-21FA-8B4D-B145-1A93E5C32B24}" type="presParOf" srcId="{3C2BC80F-7EE4-3C4D-8EF7-DB66BD3D4E7B}" destId="{B249E1D9-3850-5040-9D07-AAAF097D179C}" srcOrd="4" destOrd="0" presId="urn:microsoft.com/office/officeart/2005/8/layout/hProcess7"/>
    <dgm:cxn modelId="{91AA3A4D-6563-B845-A0F6-5DC40DD71802}" type="presParOf" srcId="{B249E1D9-3850-5040-9D07-AAAF097D179C}" destId="{9B427739-16C8-014B-9E87-7AA2D7879E7B}" srcOrd="0" destOrd="0" presId="urn:microsoft.com/office/officeart/2005/8/layout/hProcess7"/>
    <dgm:cxn modelId="{FA452BBE-D84C-3E4A-9F97-3D8EB8C9DCBD}" type="presParOf" srcId="{B249E1D9-3850-5040-9D07-AAAF097D179C}" destId="{AFD6516A-845E-534A-AC23-474EA40BD305}" srcOrd="1" destOrd="0" presId="urn:microsoft.com/office/officeart/2005/8/layout/hProcess7"/>
    <dgm:cxn modelId="{AE0A96EA-5FAF-6E4D-A71B-644357BF06DD}" type="presParOf" srcId="{B249E1D9-3850-5040-9D07-AAAF097D179C}" destId="{1A2CB44A-DD69-9F43-92A3-47F1E7ED335A}" srcOrd="2" destOrd="0" presId="urn:microsoft.com/office/officeart/2005/8/layout/hProcess7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26E1133-27F8-42A1-91FE-23383B9ACC99}" type="doc">
      <dgm:prSet loTypeId="urn:microsoft.com/office/officeart/2005/8/layout/orgChart1" loCatId="hierarchy" qsTypeId="urn:microsoft.com/office/officeart/2005/8/quickstyle/simple3" qsCatId="simple" csTypeId="urn:microsoft.com/office/officeart/2005/8/colors/colorful1#1" csCatId="colorful" phldr="1"/>
      <dgm:spPr/>
      <dgm:t>
        <a:bodyPr/>
        <a:lstStyle/>
        <a:p>
          <a:endParaRPr lang="en-US"/>
        </a:p>
      </dgm:t>
    </dgm:pt>
    <dgm:pt modelId="{43BDC9E6-B3ED-4E11-B81F-A36F96CA06AD}">
      <dgm:prSet custT="1"/>
      <dgm:spPr/>
      <dgm:t>
        <a:bodyPr/>
        <a:lstStyle/>
        <a:p>
          <a:pPr rtl="0"/>
          <a:r>
            <a:rPr lang="en-US" sz="2000" dirty="0" smtClean="0"/>
            <a:t>Security</a:t>
          </a:r>
          <a:endParaRPr lang="en-US" sz="2000" dirty="0"/>
        </a:p>
      </dgm:t>
    </dgm:pt>
    <dgm:pt modelId="{818B4425-229C-4D05-BD73-F2583AB7B9C5}" type="parTrans" cxnId="{E040E2E2-F016-4F82-9927-EA3D62DA0F57}">
      <dgm:prSet/>
      <dgm:spPr/>
      <dgm:t>
        <a:bodyPr/>
        <a:lstStyle/>
        <a:p>
          <a:endParaRPr lang="en-US" sz="2000"/>
        </a:p>
      </dgm:t>
    </dgm:pt>
    <dgm:pt modelId="{A3D2AA9D-1D2C-45CA-9A99-0FD9E343747F}" type="sibTrans" cxnId="{E040E2E2-F016-4F82-9927-EA3D62DA0F57}">
      <dgm:prSet/>
      <dgm:spPr/>
      <dgm:t>
        <a:bodyPr/>
        <a:lstStyle/>
        <a:p>
          <a:endParaRPr lang="en-US" sz="2000"/>
        </a:p>
      </dgm:t>
    </dgm:pt>
    <dgm:pt modelId="{843E3B21-DC9F-4CF8-A7F1-93BF704E47A7}">
      <dgm:prSet custT="1"/>
      <dgm:spPr/>
      <dgm:t>
        <a:bodyPr/>
        <a:lstStyle/>
        <a:p>
          <a:pPr rtl="0"/>
          <a:r>
            <a:rPr lang="en-US" sz="1800" dirty="0" smtClean="0"/>
            <a:t>Detect</a:t>
          </a:r>
          <a:endParaRPr lang="en-US" sz="1800" dirty="0"/>
        </a:p>
      </dgm:t>
    </dgm:pt>
    <dgm:pt modelId="{3EEFE082-C4FA-499A-BA01-E4B8217A4B73}" type="parTrans" cxnId="{3C110BFF-FD87-473E-9985-0D9D761E60BD}">
      <dgm:prSet/>
      <dgm:spPr/>
      <dgm:t>
        <a:bodyPr/>
        <a:lstStyle/>
        <a:p>
          <a:endParaRPr lang="en-US" sz="2000"/>
        </a:p>
      </dgm:t>
    </dgm:pt>
    <dgm:pt modelId="{2992CB8F-FBF4-486F-BE86-7AEC96D28238}" type="sibTrans" cxnId="{3C110BFF-FD87-473E-9985-0D9D761E60BD}">
      <dgm:prSet/>
      <dgm:spPr/>
      <dgm:t>
        <a:bodyPr/>
        <a:lstStyle/>
        <a:p>
          <a:endParaRPr lang="en-US" sz="2000"/>
        </a:p>
      </dgm:t>
    </dgm:pt>
    <dgm:pt modelId="{A240A1E1-162D-4A6E-A806-B6FF45B3AB68}">
      <dgm:prSet custT="1"/>
      <dgm:spPr/>
      <dgm:t>
        <a:bodyPr/>
        <a:lstStyle/>
        <a:p>
          <a:pPr rtl="0"/>
          <a:r>
            <a:rPr lang="en-US" sz="1600" dirty="0" smtClean="0"/>
            <a:t>Revoke access</a:t>
          </a:r>
          <a:endParaRPr lang="en-US" sz="1600" dirty="0"/>
        </a:p>
      </dgm:t>
    </dgm:pt>
    <dgm:pt modelId="{F0BD47AB-7AC9-40A2-A96D-1A911EFDE7FF}" type="parTrans" cxnId="{CCB5AE26-70F4-4C5B-B53D-136E39A12AC5}">
      <dgm:prSet/>
      <dgm:spPr/>
      <dgm:t>
        <a:bodyPr/>
        <a:lstStyle/>
        <a:p>
          <a:endParaRPr lang="en-US" sz="2000"/>
        </a:p>
      </dgm:t>
    </dgm:pt>
    <dgm:pt modelId="{A12D77FB-8453-4F78-A007-65AD68966259}" type="sibTrans" cxnId="{CCB5AE26-70F4-4C5B-B53D-136E39A12AC5}">
      <dgm:prSet/>
      <dgm:spPr/>
      <dgm:t>
        <a:bodyPr/>
        <a:lstStyle/>
        <a:p>
          <a:endParaRPr lang="en-US" sz="2000"/>
        </a:p>
      </dgm:t>
    </dgm:pt>
    <dgm:pt modelId="{C35FC96E-9015-4790-BDC3-6E0D4D502FCB}">
      <dgm:prSet custT="1"/>
      <dgm:spPr/>
      <dgm:t>
        <a:bodyPr/>
        <a:lstStyle/>
        <a:p>
          <a:pPr rtl="0"/>
          <a:r>
            <a:rPr lang="en-US" sz="1800" dirty="0" smtClean="0"/>
            <a:t>Recover</a:t>
          </a:r>
          <a:endParaRPr lang="en-US" sz="1800" dirty="0"/>
        </a:p>
      </dgm:t>
    </dgm:pt>
    <dgm:pt modelId="{54165FB5-F7A3-4BBF-B199-2BE2BA410DE8}" type="parTrans" cxnId="{C159F786-ED38-476E-9CAF-598C4BA6A40C}">
      <dgm:prSet/>
      <dgm:spPr/>
      <dgm:t>
        <a:bodyPr/>
        <a:lstStyle/>
        <a:p>
          <a:endParaRPr lang="en-US" sz="2000"/>
        </a:p>
      </dgm:t>
    </dgm:pt>
    <dgm:pt modelId="{599E3296-C316-405C-B222-CEA737D995B5}" type="sibTrans" cxnId="{C159F786-ED38-476E-9CAF-598C4BA6A40C}">
      <dgm:prSet/>
      <dgm:spPr/>
      <dgm:t>
        <a:bodyPr/>
        <a:lstStyle/>
        <a:p>
          <a:endParaRPr lang="en-US" sz="2000"/>
        </a:p>
      </dgm:t>
    </dgm:pt>
    <dgm:pt modelId="{AFCA2418-8D6B-4E9C-BE52-FC74C908050F}">
      <dgm:prSet custT="1"/>
      <dgm:spPr/>
      <dgm:t>
        <a:bodyPr/>
        <a:lstStyle/>
        <a:p>
          <a:pPr rtl="0"/>
          <a:r>
            <a:rPr lang="en-US" sz="1600" b="0" u="none" dirty="0" smtClean="0"/>
            <a:t>Maintain Audit trail</a:t>
          </a:r>
          <a:endParaRPr lang="en-US" sz="1600" b="0" u="none" dirty="0"/>
        </a:p>
      </dgm:t>
    </dgm:pt>
    <dgm:pt modelId="{4E25AF54-5C18-4905-8913-7D1EA2AC6905}" type="parTrans" cxnId="{482DB792-4616-4429-8146-834A4E403FCA}">
      <dgm:prSet/>
      <dgm:spPr/>
      <dgm:t>
        <a:bodyPr/>
        <a:lstStyle/>
        <a:p>
          <a:endParaRPr lang="en-US" sz="2000"/>
        </a:p>
      </dgm:t>
    </dgm:pt>
    <dgm:pt modelId="{2863A287-FD1D-46AB-958E-D6DB7D840902}" type="sibTrans" cxnId="{482DB792-4616-4429-8146-834A4E403FCA}">
      <dgm:prSet/>
      <dgm:spPr/>
      <dgm:t>
        <a:bodyPr/>
        <a:lstStyle/>
        <a:p>
          <a:endParaRPr lang="en-US" sz="2000"/>
        </a:p>
      </dgm:t>
    </dgm:pt>
    <dgm:pt modelId="{E420C67E-C4C2-476B-9B47-FFB47D587009}">
      <dgm:prSet custT="1"/>
      <dgm:spPr/>
      <dgm:t>
        <a:bodyPr/>
        <a:lstStyle/>
        <a:p>
          <a:pPr rtl="0"/>
          <a:r>
            <a:rPr lang="en-US" sz="1800" dirty="0" smtClean="0"/>
            <a:t>Resist/ Prevent</a:t>
          </a:r>
          <a:endParaRPr lang="en-US" sz="1800" dirty="0"/>
        </a:p>
      </dgm:t>
    </dgm:pt>
    <dgm:pt modelId="{65D088B7-B36E-49AA-84B9-2BC51B326EA1}" type="parTrans" cxnId="{2AC6A1A2-FDAF-4C07-BF93-78DC05214544}">
      <dgm:prSet/>
      <dgm:spPr/>
      <dgm:t>
        <a:bodyPr/>
        <a:lstStyle/>
        <a:p>
          <a:endParaRPr lang="en-US"/>
        </a:p>
      </dgm:t>
    </dgm:pt>
    <dgm:pt modelId="{7CC715FB-928E-4CFE-A8F5-045F16B2D743}" type="sibTrans" cxnId="{2AC6A1A2-FDAF-4C07-BF93-78DC05214544}">
      <dgm:prSet/>
      <dgm:spPr/>
      <dgm:t>
        <a:bodyPr/>
        <a:lstStyle/>
        <a:p>
          <a:endParaRPr lang="en-US"/>
        </a:p>
      </dgm:t>
    </dgm:pt>
    <dgm:pt modelId="{1CE2D78B-C788-472A-8424-7F9A4AB5205E}">
      <dgm:prSet custT="1"/>
      <dgm:spPr/>
      <dgm:t>
        <a:bodyPr/>
        <a:lstStyle/>
        <a:p>
          <a:pPr rtl="0"/>
          <a:r>
            <a:rPr lang="en-US" sz="1800" dirty="0" smtClean="0"/>
            <a:t>React</a:t>
          </a:r>
          <a:endParaRPr lang="en-US" sz="1800" dirty="0"/>
        </a:p>
      </dgm:t>
    </dgm:pt>
    <dgm:pt modelId="{6ED4E1AA-EFDD-4E70-836E-3DB36084DE98}" type="parTrans" cxnId="{0D252A7C-EA88-478B-9AB7-96B65AE1E68A}">
      <dgm:prSet/>
      <dgm:spPr/>
      <dgm:t>
        <a:bodyPr/>
        <a:lstStyle/>
        <a:p>
          <a:endParaRPr lang="en-US"/>
        </a:p>
      </dgm:t>
    </dgm:pt>
    <dgm:pt modelId="{1D0F051B-C9A8-457A-BE08-985EF4C28172}" type="sibTrans" cxnId="{0D252A7C-EA88-478B-9AB7-96B65AE1E68A}">
      <dgm:prSet/>
      <dgm:spPr/>
      <dgm:t>
        <a:bodyPr/>
        <a:lstStyle/>
        <a:p>
          <a:endParaRPr lang="en-US"/>
        </a:p>
      </dgm:t>
    </dgm:pt>
    <dgm:pt modelId="{C6E107C8-C87F-4E03-9C51-3B0FC309122B}">
      <dgm:prSet custT="1"/>
      <dgm:spPr/>
      <dgm:t>
        <a:bodyPr/>
        <a:lstStyle/>
        <a:p>
          <a:pPr rtl="0"/>
          <a:r>
            <a:rPr lang="en-US" sz="1600" dirty="0" smtClean="0"/>
            <a:t>Restore</a:t>
          </a:r>
          <a:endParaRPr lang="en-US" sz="1600" dirty="0"/>
        </a:p>
      </dgm:t>
    </dgm:pt>
    <dgm:pt modelId="{645C00E4-762B-4277-AD48-4328B4AF7430}" type="parTrans" cxnId="{AF611182-AAE8-4190-BE35-A2473E50306B}">
      <dgm:prSet/>
      <dgm:spPr/>
      <dgm:t>
        <a:bodyPr/>
        <a:lstStyle/>
        <a:p>
          <a:endParaRPr lang="en-US"/>
        </a:p>
      </dgm:t>
    </dgm:pt>
    <dgm:pt modelId="{E622C44F-BC5B-49E7-9D58-720E5F6040E1}" type="sibTrans" cxnId="{AF611182-AAE8-4190-BE35-A2473E50306B}">
      <dgm:prSet/>
      <dgm:spPr/>
      <dgm:t>
        <a:bodyPr/>
        <a:lstStyle/>
        <a:p>
          <a:endParaRPr lang="en-US"/>
        </a:p>
      </dgm:t>
    </dgm:pt>
    <dgm:pt modelId="{09967023-FD4B-4E34-A1C9-A393B75E32BA}">
      <dgm:prSet custT="1"/>
      <dgm:spPr/>
      <dgm:t>
        <a:bodyPr/>
        <a:lstStyle/>
        <a:p>
          <a:pPr rtl="0"/>
          <a:r>
            <a:rPr lang="en-US" sz="1600" dirty="0" smtClean="0"/>
            <a:t>Use availability tactics</a:t>
          </a:r>
          <a:endParaRPr lang="en-US" sz="1600" dirty="0"/>
        </a:p>
      </dgm:t>
    </dgm:pt>
    <dgm:pt modelId="{28774598-E592-4921-B255-0225EB6D096E}" type="parTrans" cxnId="{DB925F6A-7761-4D5E-84C9-D63652FE2570}">
      <dgm:prSet/>
      <dgm:spPr/>
      <dgm:t>
        <a:bodyPr/>
        <a:lstStyle/>
        <a:p>
          <a:endParaRPr lang="en-US"/>
        </a:p>
      </dgm:t>
    </dgm:pt>
    <dgm:pt modelId="{0B7B4A03-7BEB-45DD-A62C-7505C5BC4A5B}" type="sibTrans" cxnId="{DB925F6A-7761-4D5E-84C9-D63652FE2570}">
      <dgm:prSet/>
      <dgm:spPr/>
      <dgm:t>
        <a:bodyPr/>
        <a:lstStyle/>
        <a:p>
          <a:endParaRPr lang="en-US"/>
        </a:p>
      </dgm:t>
    </dgm:pt>
    <dgm:pt modelId="{35016019-1F0E-47A9-A9CB-AE98C0AFCFC1}">
      <dgm:prSet custT="1"/>
      <dgm:spPr/>
      <dgm:t>
        <a:bodyPr/>
        <a:lstStyle/>
        <a:p>
          <a:pPr rtl="0"/>
          <a:r>
            <a:rPr lang="en-US" sz="1600" dirty="0" smtClean="0"/>
            <a:t>Lock system</a:t>
          </a:r>
          <a:endParaRPr lang="en-US" sz="1600" dirty="0"/>
        </a:p>
      </dgm:t>
    </dgm:pt>
    <dgm:pt modelId="{A60BCA66-49BB-4275-9110-8B471B3FC59B}" type="parTrans" cxnId="{F0C0AED6-3BFB-430A-84C4-C1842ECA49F1}">
      <dgm:prSet/>
      <dgm:spPr/>
      <dgm:t>
        <a:bodyPr/>
        <a:lstStyle/>
        <a:p>
          <a:endParaRPr lang="en-US"/>
        </a:p>
      </dgm:t>
    </dgm:pt>
    <dgm:pt modelId="{549EC933-326F-43C6-A4AD-B0C6604A5CF9}" type="sibTrans" cxnId="{F0C0AED6-3BFB-430A-84C4-C1842ECA49F1}">
      <dgm:prSet/>
      <dgm:spPr/>
      <dgm:t>
        <a:bodyPr/>
        <a:lstStyle/>
        <a:p>
          <a:endParaRPr lang="en-US"/>
        </a:p>
      </dgm:t>
    </dgm:pt>
    <dgm:pt modelId="{49742260-F14F-4BCB-8D88-ADD2EB5024EC}">
      <dgm:prSet custT="1"/>
      <dgm:spPr/>
      <dgm:t>
        <a:bodyPr/>
        <a:lstStyle/>
        <a:p>
          <a:pPr rtl="0"/>
          <a:r>
            <a:rPr lang="en-US" sz="1600" dirty="0" smtClean="0"/>
            <a:t>Alert actors</a:t>
          </a:r>
          <a:endParaRPr lang="en-US" sz="1600" dirty="0"/>
        </a:p>
      </dgm:t>
    </dgm:pt>
    <dgm:pt modelId="{9275B05E-F520-4192-9B33-84AEEBC3F62D}" type="parTrans" cxnId="{A0E66910-A417-4433-846A-E364FADC3533}">
      <dgm:prSet/>
      <dgm:spPr/>
      <dgm:t>
        <a:bodyPr/>
        <a:lstStyle/>
        <a:p>
          <a:endParaRPr lang="en-US"/>
        </a:p>
      </dgm:t>
    </dgm:pt>
    <dgm:pt modelId="{BDB94797-518D-4543-8D6F-13596FEC7A22}" type="sibTrans" cxnId="{A0E66910-A417-4433-846A-E364FADC3533}">
      <dgm:prSet/>
      <dgm:spPr/>
      <dgm:t>
        <a:bodyPr/>
        <a:lstStyle/>
        <a:p>
          <a:endParaRPr lang="en-US"/>
        </a:p>
      </dgm:t>
    </dgm:pt>
    <dgm:pt modelId="{0216D3CF-84E5-4443-8082-6C6C297E9A4D}">
      <dgm:prSet custT="1"/>
      <dgm:spPr/>
      <dgm:t>
        <a:bodyPr/>
        <a:lstStyle/>
        <a:p>
          <a:pPr rtl="0"/>
          <a:r>
            <a:rPr lang="en-US" sz="1600" dirty="0" smtClean="0"/>
            <a:t>Identify actors</a:t>
          </a:r>
          <a:endParaRPr lang="en-US" sz="1600" dirty="0"/>
        </a:p>
      </dgm:t>
    </dgm:pt>
    <dgm:pt modelId="{C3334397-F4C9-43FD-9DE7-786437A51BF8}" type="parTrans" cxnId="{EF17C288-FABF-470A-9F6E-6F1AC60C08BE}">
      <dgm:prSet/>
      <dgm:spPr/>
      <dgm:t>
        <a:bodyPr/>
        <a:lstStyle/>
        <a:p>
          <a:endParaRPr lang="en-US"/>
        </a:p>
      </dgm:t>
    </dgm:pt>
    <dgm:pt modelId="{9C27E3D0-AEBB-4C4C-AFEA-8F9AF608B21E}" type="sibTrans" cxnId="{EF17C288-FABF-470A-9F6E-6F1AC60C08BE}">
      <dgm:prSet/>
      <dgm:spPr/>
      <dgm:t>
        <a:bodyPr/>
        <a:lstStyle/>
        <a:p>
          <a:endParaRPr lang="en-US"/>
        </a:p>
      </dgm:t>
    </dgm:pt>
    <dgm:pt modelId="{90833815-F732-45AF-B735-7A208BE16A8A}">
      <dgm:prSet custT="1"/>
      <dgm:spPr/>
      <dgm:t>
        <a:bodyPr/>
        <a:lstStyle/>
        <a:p>
          <a:pPr rtl="0"/>
          <a:r>
            <a:rPr lang="en-US" sz="1600" dirty="0" smtClean="0"/>
            <a:t>Authenticate and authorize actors</a:t>
          </a:r>
          <a:endParaRPr lang="en-US" sz="1600" dirty="0"/>
        </a:p>
      </dgm:t>
    </dgm:pt>
    <dgm:pt modelId="{62301F5E-BDD5-4369-B9CF-5999FECA1C85}" type="parTrans" cxnId="{A630084D-67F8-48A7-9951-F46F3604D1B4}">
      <dgm:prSet/>
      <dgm:spPr/>
      <dgm:t>
        <a:bodyPr/>
        <a:lstStyle/>
        <a:p>
          <a:endParaRPr lang="en-US"/>
        </a:p>
      </dgm:t>
    </dgm:pt>
    <dgm:pt modelId="{7A88FAF5-FAAB-4848-B347-2B42AF8023FF}" type="sibTrans" cxnId="{A630084D-67F8-48A7-9951-F46F3604D1B4}">
      <dgm:prSet/>
      <dgm:spPr/>
      <dgm:t>
        <a:bodyPr/>
        <a:lstStyle/>
        <a:p>
          <a:endParaRPr lang="en-US"/>
        </a:p>
      </dgm:t>
    </dgm:pt>
    <dgm:pt modelId="{2F6572D1-3E4E-41CC-B816-15F6AA753750}">
      <dgm:prSet custT="1"/>
      <dgm:spPr/>
      <dgm:t>
        <a:bodyPr/>
        <a:lstStyle/>
        <a:p>
          <a:pPr rtl="0"/>
          <a:r>
            <a:rPr lang="en-US" sz="1600" dirty="0" smtClean="0"/>
            <a:t>Limit access and exposure</a:t>
          </a:r>
          <a:endParaRPr lang="en-US" sz="1600" dirty="0"/>
        </a:p>
      </dgm:t>
    </dgm:pt>
    <dgm:pt modelId="{453F9760-1876-428B-8CB6-DA8F60516D89}" type="parTrans" cxnId="{06E71150-3811-4FC5-8858-0203DD6C998E}">
      <dgm:prSet/>
      <dgm:spPr/>
      <dgm:t>
        <a:bodyPr/>
        <a:lstStyle/>
        <a:p>
          <a:endParaRPr lang="en-US"/>
        </a:p>
      </dgm:t>
    </dgm:pt>
    <dgm:pt modelId="{F36BC338-6ADD-4D27-8F50-A2943AF092AF}" type="sibTrans" cxnId="{06E71150-3811-4FC5-8858-0203DD6C998E}">
      <dgm:prSet/>
      <dgm:spPr/>
      <dgm:t>
        <a:bodyPr/>
        <a:lstStyle/>
        <a:p>
          <a:endParaRPr lang="en-US"/>
        </a:p>
      </dgm:t>
    </dgm:pt>
    <dgm:pt modelId="{CFEBB133-5D80-4E9D-815E-BA7E2B5804D2}">
      <dgm:prSet custT="1"/>
      <dgm:spPr/>
      <dgm:t>
        <a:bodyPr/>
        <a:lstStyle/>
        <a:p>
          <a:pPr rtl="0"/>
          <a:r>
            <a:rPr lang="en-US" sz="1600" dirty="0" smtClean="0"/>
            <a:t>Maintain data confidentiality</a:t>
          </a:r>
          <a:endParaRPr lang="en-US" sz="1600" dirty="0"/>
        </a:p>
      </dgm:t>
    </dgm:pt>
    <dgm:pt modelId="{6C5C9B86-7AAA-465B-98FF-E3F38189A3AE}" type="parTrans" cxnId="{7E8A394C-0B32-41E9-BC7B-038412EB61D4}">
      <dgm:prSet/>
      <dgm:spPr/>
      <dgm:t>
        <a:bodyPr/>
        <a:lstStyle/>
        <a:p>
          <a:endParaRPr lang="en-US"/>
        </a:p>
      </dgm:t>
    </dgm:pt>
    <dgm:pt modelId="{7FDECB7D-540F-4AC8-A911-0EDE43878630}" type="sibTrans" cxnId="{7E8A394C-0B32-41E9-BC7B-038412EB61D4}">
      <dgm:prSet/>
      <dgm:spPr/>
      <dgm:t>
        <a:bodyPr/>
        <a:lstStyle/>
        <a:p>
          <a:endParaRPr lang="en-US"/>
        </a:p>
      </dgm:t>
    </dgm:pt>
    <dgm:pt modelId="{720AE7B9-47AD-4FF9-8447-DF1B8C5FD193}">
      <dgm:prSet custT="1"/>
      <dgm:spPr/>
      <dgm:t>
        <a:bodyPr/>
        <a:lstStyle/>
        <a:p>
          <a:pPr rtl="0"/>
          <a:r>
            <a:rPr lang="en-US" sz="1600" dirty="0" smtClean="0"/>
            <a:t>Intrusion detection</a:t>
          </a:r>
          <a:endParaRPr lang="en-US" sz="1600" dirty="0"/>
        </a:p>
      </dgm:t>
    </dgm:pt>
    <dgm:pt modelId="{3722DDF4-26E2-4422-A516-DEEAC3ECF65B}" type="parTrans" cxnId="{C7B12242-93F1-42B1-8149-73B2BE7E9DC0}">
      <dgm:prSet/>
      <dgm:spPr/>
      <dgm:t>
        <a:bodyPr/>
        <a:lstStyle/>
        <a:p>
          <a:endParaRPr lang="en-US"/>
        </a:p>
      </dgm:t>
    </dgm:pt>
    <dgm:pt modelId="{D7F902F3-F976-415B-98C3-59057320C539}" type="sibTrans" cxnId="{C7B12242-93F1-42B1-8149-73B2BE7E9DC0}">
      <dgm:prSet/>
      <dgm:spPr/>
      <dgm:t>
        <a:bodyPr/>
        <a:lstStyle/>
        <a:p>
          <a:endParaRPr lang="en-US"/>
        </a:p>
      </dgm:t>
    </dgm:pt>
    <dgm:pt modelId="{7D7C3FA2-CE75-4B7D-A218-416906B8D917}">
      <dgm:prSet custT="1"/>
      <dgm:spPr/>
      <dgm:t>
        <a:bodyPr/>
        <a:lstStyle/>
        <a:p>
          <a:pPr rtl="0"/>
          <a:r>
            <a:rPr lang="en-US" sz="1600" dirty="0" smtClean="0"/>
            <a:t>Detect service denial</a:t>
          </a:r>
          <a:endParaRPr lang="en-US" sz="1600" dirty="0"/>
        </a:p>
      </dgm:t>
    </dgm:pt>
    <dgm:pt modelId="{14236E25-24F5-4DBC-8E23-FED5A30DEF0E}" type="parTrans" cxnId="{2648CEB6-4DB9-42A6-B700-4831395E15AC}">
      <dgm:prSet/>
      <dgm:spPr/>
      <dgm:t>
        <a:bodyPr/>
        <a:lstStyle/>
        <a:p>
          <a:endParaRPr lang="en-US"/>
        </a:p>
      </dgm:t>
    </dgm:pt>
    <dgm:pt modelId="{FB40D391-DB77-4C2C-BDCE-7A207CEAE6FE}" type="sibTrans" cxnId="{2648CEB6-4DB9-42A6-B700-4831395E15AC}">
      <dgm:prSet/>
      <dgm:spPr/>
      <dgm:t>
        <a:bodyPr/>
        <a:lstStyle/>
        <a:p>
          <a:endParaRPr lang="en-US"/>
        </a:p>
      </dgm:t>
    </dgm:pt>
    <dgm:pt modelId="{9B931718-FC68-4B2E-9854-492BCFE6FE83}">
      <dgm:prSet custT="1"/>
      <dgm:spPr/>
      <dgm:t>
        <a:bodyPr/>
        <a:lstStyle/>
        <a:p>
          <a:pPr rtl="0"/>
          <a:r>
            <a:rPr lang="en-US" sz="1600" dirty="0" smtClean="0"/>
            <a:t>Verify message integrity</a:t>
          </a:r>
          <a:endParaRPr lang="en-US" sz="1600" dirty="0"/>
        </a:p>
      </dgm:t>
    </dgm:pt>
    <dgm:pt modelId="{359E2506-5D19-4F9C-8688-C666576175A9}" type="parTrans" cxnId="{6E2E3B55-A6EB-46D7-B7D0-04629FD4C800}">
      <dgm:prSet/>
      <dgm:spPr/>
      <dgm:t>
        <a:bodyPr/>
        <a:lstStyle/>
        <a:p>
          <a:endParaRPr lang="en-US"/>
        </a:p>
      </dgm:t>
    </dgm:pt>
    <dgm:pt modelId="{3113A228-1208-4305-91A0-AEEDFF54B5B2}" type="sibTrans" cxnId="{6E2E3B55-A6EB-46D7-B7D0-04629FD4C800}">
      <dgm:prSet/>
      <dgm:spPr/>
      <dgm:t>
        <a:bodyPr/>
        <a:lstStyle/>
        <a:p>
          <a:endParaRPr lang="en-US"/>
        </a:p>
      </dgm:t>
    </dgm:pt>
    <dgm:pt modelId="{0B5A8C4E-0287-4775-89CD-4F33BAC9506F}">
      <dgm:prSet custT="1"/>
      <dgm:spPr/>
      <dgm:t>
        <a:bodyPr/>
        <a:lstStyle/>
        <a:p>
          <a:pPr rtl="0"/>
          <a:r>
            <a:rPr lang="en-US" sz="1600" dirty="0" smtClean="0"/>
            <a:t>Detect message delay</a:t>
          </a:r>
          <a:endParaRPr lang="en-US" sz="1600" dirty="0"/>
        </a:p>
      </dgm:t>
    </dgm:pt>
    <dgm:pt modelId="{EF032B47-594B-4FE2-82AA-11F85DCB3B05}" type="parTrans" cxnId="{BF0DC91D-EC32-48A1-86C8-FAB69550103E}">
      <dgm:prSet/>
      <dgm:spPr/>
      <dgm:t>
        <a:bodyPr/>
        <a:lstStyle/>
        <a:p>
          <a:endParaRPr lang="en-US"/>
        </a:p>
      </dgm:t>
    </dgm:pt>
    <dgm:pt modelId="{54EDCA25-2AA2-4C65-8635-EE0E2A7EF78B}" type="sibTrans" cxnId="{BF0DC91D-EC32-48A1-86C8-FAB69550103E}">
      <dgm:prSet/>
      <dgm:spPr/>
      <dgm:t>
        <a:bodyPr/>
        <a:lstStyle/>
        <a:p>
          <a:endParaRPr lang="en-US"/>
        </a:p>
      </dgm:t>
    </dgm:pt>
    <dgm:pt modelId="{52015A54-073D-4B92-8FF1-0F1F5FE1561A}">
      <dgm:prSet custT="1"/>
      <dgm:spPr/>
      <dgm:t>
        <a:bodyPr/>
        <a:lstStyle/>
        <a:p>
          <a:pPr rtl="0"/>
          <a:r>
            <a:rPr lang="en-US" sz="1600" dirty="0" smtClean="0"/>
            <a:t>Change default setting</a:t>
          </a:r>
          <a:endParaRPr lang="en-US" sz="1600" dirty="0"/>
        </a:p>
      </dgm:t>
    </dgm:pt>
    <dgm:pt modelId="{B8FD3D24-FF5C-481A-BFA0-ACCFF5DDB239}" type="parTrans" cxnId="{D5303A83-A782-4BB6-B537-EB76AE21A31F}">
      <dgm:prSet/>
      <dgm:spPr/>
      <dgm:t>
        <a:bodyPr/>
        <a:lstStyle/>
        <a:p>
          <a:endParaRPr lang="en-US"/>
        </a:p>
      </dgm:t>
    </dgm:pt>
    <dgm:pt modelId="{D70B0E39-2F64-4487-9F50-BA872A45E49A}" type="sibTrans" cxnId="{D5303A83-A782-4BB6-B537-EB76AE21A31F}">
      <dgm:prSet/>
      <dgm:spPr/>
      <dgm:t>
        <a:bodyPr/>
        <a:lstStyle/>
        <a:p>
          <a:endParaRPr lang="en-US"/>
        </a:p>
      </dgm:t>
    </dgm:pt>
    <dgm:pt modelId="{E9F5810C-05C5-4937-8779-609DD6BD5CFD}" type="pres">
      <dgm:prSet presAssocID="{A26E1133-27F8-42A1-91FE-23383B9ACC9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5A00B3E-FEA8-439F-999E-8DB6BC95DBC0}" type="pres">
      <dgm:prSet presAssocID="{43BDC9E6-B3ED-4E11-B81F-A36F96CA06AD}" presName="hierRoot1" presStyleCnt="0">
        <dgm:presLayoutVars>
          <dgm:hierBranch val="init"/>
        </dgm:presLayoutVars>
      </dgm:prSet>
      <dgm:spPr/>
    </dgm:pt>
    <dgm:pt modelId="{305CB9B7-E4C6-453D-AC39-1DA3FA25C576}" type="pres">
      <dgm:prSet presAssocID="{43BDC9E6-B3ED-4E11-B81F-A36F96CA06AD}" presName="rootComposite1" presStyleCnt="0"/>
      <dgm:spPr/>
    </dgm:pt>
    <dgm:pt modelId="{1AD90FEA-3135-49C2-A3C0-CFEDDC6405B3}" type="pres">
      <dgm:prSet presAssocID="{43BDC9E6-B3ED-4E11-B81F-A36F96CA06AD}" presName="rootText1" presStyleLbl="node0" presStyleIdx="0" presStyleCnt="1" custScaleX="217502" custScaleY="68885" custLinFactNeighborX="29763" custLinFactNeighborY="-8477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EF86BC6-06CE-4768-9942-F4420543D5EE}" type="pres">
      <dgm:prSet presAssocID="{43BDC9E6-B3ED-4E11-B81F-A36F96CA06AD}" presName="rootConnector1" presStyleLbl="node1" presStyleIdx="0" presStyleCnt="0"/>
      <dgm:spPr/>
      <dgm:t>
        <a:bodyPr/>
        <a:lstStyle/>
        <a:p>
          <a:endParaRPr lang="en-US"/>
        </a:p>
      </dgm:t>
    </dgm:pt>
    <dgm:pt modelId="{EC72B6B4-B63E-4FE2-8CC2-5FA221770366}" type="pres">
      <dgm:prSet presAssocID="{43BDC9E6-B3ED-4E11-B81F-A36F96CA06AD}" presName="hierChild2" presStyleCnt="0"/>
      <dgm:spPr/>
    </dgm:pt>
    <dgm:pt modelId="{A3BC68A0-CABF-4126-884C-C90818E1E26E}" type="pres">
      <dgm:prSet presAssocID="{3EEFE082-C4FA-499A-BA01-E4B8217A4B73}" presName="Name37" presStyleLbl="parChTrans1D2" presStyleIdx="0" presStyleCnt="4"/>
      <dgm:spPr/>
      <dgm:t>
        <a:bodyPr/>
        <a:lstStyle/>
        <a:p>
          <a:endParaRPr lang="en-US"/>
        </a:p>
      </dgm:t>
    </dgm:pt>
    <dgm:pt modelId="{9B84C5AA-6259-445A-8F7A-6D366FCBB4AD}" type="pres">
      <dgm:prSet presAssocID="{843E3B21-DC9F-4CF8-A7F1-93BF704E47A7}" presName="hierRoot2" presStyleCnt="0">
        <dgm:presLayoutVars>
          <dgm:hierBranch val="init"/>
        </dgm:presLayoutVars>
      </dgm:prSet>
      <dgm:spPr/>
    </dgm:pt>
    <dgm:pt modelId="{F324FB99-E565-440D-9319-A2867DA87756}" type="pres">
      <dgm:prSet presAssocID="{843E3B21-DC9F-4CF8-A7F1-93BF704E47A7}" presName="rootComposite" presStyleCnt="0"/>
      <dgm:spPr/>
    </dgm:pt>
    <dgm:pt modelId="{5E5C4910-D5C2-4117-9825-0F4E2308A1D4}" type="pres">
      <dgm:prSet presAssocID="{843E3B21-DC9F-4CF8-A7F1-93BF704E47A7}" presName="rootText" presStyleLbl="node2" presStyleIdx="0" presStyleCnt="4" custScaleY="90886" custLinFactNeighborX="17220" custLinFactNeighborY="2220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B22B6A5-BFAD-4E5F-BED0-C002FA69FEEF}" type="pres">
      <dgm:prSet presAssocID="{843E3B21-DC9F-4CF8-A7F1-93BF704E47A7}" presName="rootConnector" presStyleLbl="node2" presStyleIdx="0" presStyleCnt="4"/>
      <dgm:spPr/>
      <dgm:t>
        <a:bodyPr/>
        <a:lstStyle/>
        <a:p>
          <a:endParaRPr lang="en-US"/>
        </a:p>
      </dgm:t>
    </dgm:pt>
    <dgm:pt modelId="{16186025-4BC6-46E2-97F6-F9084F02632D}" type="pres">
      <dgm:prSet presAssocID="{843E3B21-DC9F-4CF8-A7F1-93BF704E47A7}" presName="hierChild4" presStyleCnt="0"/>
      <dgm:spPr/>
    </dgm:pt>
    <dgm:pt modelId="{A83ED5F7-10A0-45C9-B814-5804FA76917E}" type="pres">
      <dgm:prSet presAssocID="{3722DDF4-26E2-4422-A516-DEEAC3ECF65B}" presName="Name37" presStyleLbl="parChTrans1D3" presStyleIdx="0" presStyleCnt="14"/>
      <dgm:spPr/>
      <dgm:t>
        <a:bodyPr/>
        <a:lstStyle/>
        <a:p>
          <a:endParaRPr lang="en-US"/>
        </a:p>
      </dgm:t>
    </dgm:pt>
    <dgm:pt modelId="{D44CFE56-6231-4D51-BDF4-F9842887D455}" type="pres">
      <dgm:prSet presAssocID="{720AE7B9-47AD-4FF9-8447-DF1B8C5FD193}" presName="hierRoot2" presStyleCnt="0">
        <dgm:presLayoutVars>
          <dgm:hierBranch val="init"/>
        </dgm:presLayoutVars>
      </dgm:prSet>
      <dgm:spPr/>
    </dgm:pt>
    <dgm:pt modelId="{F340CB26-8421-44AC-9592-9BB7E87D96B8}" type="pres">
      <dgm:prSet presAssocID="{720AE7B9-47AD-4FF9-8447-DF1B8C5FD193}" presName="rootComposite" presStyleCnt="0"/>
      <dgm:spPr/>
    </dgm:pt>
    <dgm:pt modelId="{1064D61A-5C37-497D-A6F5-6312AB6E3F5A}" type="pres">
      <dgm:prSet presAssocID="{720AE7B9-47AD-4FF9-8447-DF1B8C5FD193}" presName="rootText" presStyleLbl="node3" presStyleIdx="0" presStyleCnt="14" custScaleX="133045" custScaleY="119763" custLinFactY="39326" custLinFactNeighborX="3459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D0BA542-EABF-46D4-A11D-8954A50A4A27}" type="pres">
      <dgm:prSet presAssocID="{720AE7B9-47AD-4FF9-8447-DF1B8C5FD193}" presName="rootConnector" presStyleLbl="node3" presStyleIdx="0" presStyleCnt="14"/>
      <dgm:spPr/>
      <dgm:t>
        <a:bodyPr/>
        <a:lstStyle/>
        <a:p>
          <a:endParaRPr lang="en-US"/>
        </a:p>
      </dgm:t>
    </dgm:pt>
    <dgm:pt modelId="{CB5479DD-BB83-4A7F-A8FE-0204BBEBDE57}" type="pres">
      <dgm:prSet presAssocID="{720AE7B9-47AD-4FF9-8447-DF1B8C5FD193}" presName="hierChild4" presStyleCnt="0"/>
      <dgm:spPr/>
    </dgm:pt>
    <dgm:pt modelId="{72F3B94E-5E2C-4DF9-BCD5-3D635951032C}" type="pres">
      <dgm:prSet presAssocID="{720AE7B9-47AD-4FF9-8447-DF1B8C5FD193}" presName="hierChild5" presStyleCnt="0"/>
      <dgm:spPr/>
    </dgm:pt>
    <dgm:pt modelId="{A2B3E9C0-0CE1-4B88-9E71-F7CE1A7F99D7}" type="pres">
      <dgm:prSet presAssocID="{14236E25-24F5-4DBC-8E23-FED5A30DEF0E}" presName="Name37" presStyleLbl="parChTrans1D3" presStyleIdx="1" presStyleCnt="14"/>
      <dgm:spPr/>
      <dgm:t>
        <a:bodyPr/>
        <a:lstStyle/>
        <a:p>
          <a:endParaRPr lang="en-US"/>
        </a:p>
      </dgm:t>
    </dgm:pt>
    <dgm:pt modelId="{16797127-63BB-4E8C-8005-5E72B3FF9B3C}" type="pres">
      <dgm:prSet presAssocID="{7D7C3FA2-CE75-4B7D-A218-416906B8D917}" presName="hierRoot2" presStyleCnt="0">
        <dgm:presLayoutVars>
          <dgm:hierBranch val="init"/>
        </dgm:presLayoutVars>
      </dgm:prSet>
      <dgm:spPr/>
    </dgm:pt>
    <dgm:pt modelId="{4DFEF789-40AF-4966-81EA-F7C1CBE52773}" type="pres">
      <dgm:prSet presAssocID="{7D7C3FA2-CE75-4B7D-A218-416906B8D917}" presName="rootComposite" presStyleCnt="0"/>
      <dgm:spPr/>
    </dgm:pt>
    <dgm:pt modelId="{A77E27D0-EFD7-495B-9E1A-5A5371B8AB84}" type="pres">
      <dgm:prSet presAssocID="{7D7C3FA2-CE75-4B7D-A218-416906B8D917}" presName="rootText" presStyleLbl="node3" presStyleIdx="1" presStyleCnt="14" custScaleX="130963" custScaleY="119096" custLinFactY="32613" custLinFactNeighborX="36672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3F8734B-291F-4EE9-8AEC-5D7130065FE8}" type="pres">
      <dgm:prSet presAssocID="{7D7C3FA2-CE75-4B7D-A218-416906B8D917}" presName="rootConnector" presStyleLbl="node3" presStyleIdx="1" presStyleCnt="14"/>
      <dgm:spPr/>
      <dgm:t>
        <a:bodyPr/>
        <a:lstStyle/>
        <a:p>
          <a:endParaRPr lang="en-US"/>
        </a:p>
      </dgm:t>
    </dgm:pt>
    <dgm:pt modelId="{F1241E53-1837-4666-9A60-B6AD42958195}" type="pres">
      <dgm:prSet presAssocID="{7D7C3FA2-CE75-4B7D-A218-416906B8D917}" presName="hierChild4" presStyleCnt="0"/>
      <dgm:spPr/>
    </dgm:pt>
    <dgm:pt modelId="{E1079AD2-0C8E-44F0-9596-6D504E6161CE}" type="pres">
      <dgm:prSet presAssocID="{7D7C3FA2-CE75-4B7D-A218-416906B8D917}" presName="hierChild5" presStyleCnt="0"/>
      <dgm:spPr/>
    </dgm:pt>
    <dgm:pt modelId="{50C84909-550F-4BDC-8966-B86E5E1786AE}" type="pres">
      <dgm:prSet presAssocID="{359E2506-5D19-4F9C-8688-C666576175A9}" presName="Name37" presStyleLbl="parChTrans1D3" presStyleIdx="2" presStyleCnt="14"/>
      <dgm:spPr/>
      <dgm:t>
        <a:bodyPr/>
        <a:lstStyle/>
        <a:p>
          <a:endParaRPr lang="en-US"/>
        </a:p>
      </dgm:t>
    </dgm:pt>
    <dgm:pt modelId="{EBCAC25B-3E97-4708-AA7E-0D44E4C06B2C}" type="pres">
      <dgm:prSet presAssocID="{9B931718-FC68-4B2E-9854-492BCFE6FE83}" presName="hierRoot2" presStyleCnt="0">
        <dgm:presLayoutVars>
          <dgm:hierBranch val="init"/>
        </dgm:presLayoutVars>
      </dgm:prSet>
      <dgm:spPr/>
    </dgm:pt>
    <dgm:pt modelId="{56A22D43-7DD1-46E6-B06A-D1D662EE6DAD}" type="pres">
      <dgm:prSet presAssocID="{9B931718-FC68-4B2E-9854-492BCFE6FE83}" presName="rootComposite" presStyleCnt="0"/>
      <dgm:spPr/>
    </dgm:pt>
    <dgm:pt modelId="{984A4F3B-0A00-4E5A-9092-1922B8A7FAB3}" type="pres">
      <dgm:prSet presAssocID="{9B931718-FC68-4B2E-9854-492BCFE6FE83}" presName="rootText" presStyleLbl="node3" presStyleIdx="2" presStyleCnt="14" custScaleX="133045" custScaleY="152685" custLinFactY="19953" custLinFactNeighborX="3459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00B55C8-272E-490B-AB5F-A5C6369E8C79}" type="pres">
      <dgm:prSet presAssocID="{9B931718-FC68-4B2E-9854-492BCFE6FE83}" presName="rootConnector" presStyleLbl="node3" presStyleIdx="2" presStyleCnt="14"/>
      <dgm:spPr/>
      <dgm:t>
        <a:bodyPr/>
        <a:lstStyle/>
        <a:p>
          <a:endParaRPr lang="en-US"/>
        </a:p>
      </dgm:t>
    </dgm:pt>
    <dgm:pt modelId="{18D6C1B6-F902-4ABE-BB60-086B907C1C3A}" type="pres">
      <dgm:prSet presAssocID="{9B931718-FC68-4B2E-9854-492BCFE6FE83}" presName="hierChild4" presStyleCnt="0"/>
      <dgm:spPr/>
    </dgm:pt>
    <dgm:pt modelId="{4E3F742A-A2F5-4971-A026-90DA3CFE956C}" type="pres">
      <dgm:prSet presAssocID="{9B931718-FC68-4B2E-9854-492BCFE6FE83}" presName="hierChild5" presStyleCnt="0"/>
      <dgm:spPr/>
    </dgm:pt>
    <dgm:pt modelId="{6262AD45-37CE-4E4E-81E1-98A75BFFED33}" type="pres">
      <dgm:prSet presAssocID="{EF032B47-594B-4FE2-82AA-11F85DCB3B05}" presName="Name37" presStyleLbl="parChTrans1D3" presStyleIdx="3" presStyleCnt="14"/>
      <dgm:spPr/>
      <dgm:t>
        <a:bodyPr/>
        <a:lstStyle/>
        <a:p>
          <a:endParaRPr lang="en-US"/>
        </a:p>
      </dgm:t>
    </dgm:pt>
    <dgm:pt modelId="{3BDA7C33-CC97-412E-A3EC-9F252E4F5A5A}" type="pres">
      <dgm:prSet presAssocID="{0B5A8C4E-0287-4775-89CD-4F33BAC9506F}" presName="hierRoot2" presStyleCnt="0">
        <dgm:presLayoutVars>
          <dgm:hierBranch val="init"/>
        </dgm:presLayoutVars>
      </dgm:prSet>
      <dgm:spPr/>
    </dgm:pt>
    <dgm:pt modelId="{2723E1CD-4CEE-4F07-87CD-20B12A8FC827}" type="pres">
      <dgm:prSet presAssocID="{0B5A8C4E-0287-4775-89CD-4F33BAC9506F}" presName="rootComposite" presStyleCnt="0"/>
      <dgm:spPr/>
    </dgm:pt>
    <dgm:pt modelId="{E8D3E92A-0794-4DFF-ADF5-83A9F9869BDA}" type="pres">
      <dgm:prSet presAssocID="{0B5A8C4E-0287-4775-89CD-4F33BAC9506F}" presName="rootText" presStyleLbl="node3" presStyleIdx="3" presStyleCnt="14" custScaleX="147937" custScaleY="123563" custLinFactY="23643" custLinFactNeighborX="19698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4F391C2-584B-4F01-9A6E-BB77AA2A997A}" type="pres">
      <dgm:prSet presAssocID="{0B5A8C4E-0287-4775-89CD-4F33BAC9506F}" presName="rootConnector" presStyleLbl="node3" presStyleIdx="3" presStyleCnt="14"/>
      <dgm:spPr/>
      <dgm:t>
        <a:bodyPr/>
        <a:lstStyle/>
        <a:p>
          <a:endParaRPr lang="en-US"/>
        </a:p>
      </dgm:t>
    </dgm:pt>
    <dgm:pt modelId="{B2E11ABB-6C93-42E1-91A1-DB542954BA14}" type="pres">
      <dgm:prSet presAssocID="{0B5A8C4E-0287-4775-89CD-4F33BAC9506F}" presName="hierChild4" presStyleCnt="0"/>
      <dgm:spPr/>
    </dgm:pt>
    <dgm:pt modelId="{7916A290-6350-41CF-9D02-42ED9408F54E}" type="pres">
      <dgm:prSet presAssocID="{0B5A8C4E-0287-4775-89CD-4F33BAC9506F}" presName="hierChild5" presStyleCnt="0"/>
      <dgm:spPr/>
    </dgm:pt>
    <dgm:pt modelId="{82355405-192E-42E7-B905-7A6FE845C6D9}" type="pres">
      <dgm:prSet presAssocID="{843E3B21-DC9F-4CF8-A7F1-93BF704E47A7}" presName="hierChild5" presStyleCnt="0"/>
      <dgm:spPr/>
    </dgm:pt>
    <dgm:pt modelId="{96956835-3386-449C-A89B-65F7C680246D}" type="pres">
      <dgm:prSet presAssocID="{65D088B7-B36E-49AA-84B9-2BC51B326EA1}" presName="Name37" presStyleLbl="parChTrans1D2" presStyleIdx="1" presStyleCnt="4"/>
      <dgm:spPr/>
      <dgm:t>
        <a:bodyPr/>
        <a:lstStyle/>
        <a:p>
          <a:endParaRPr lang="en-US"/>
        </a:p>
      </dgm:t>
    </dgm:pt>
    <dgm:pt modelId="{DBD72DFC-EF80-4973-B6E5-D3C9AB052F9E}" type="pres">
      <dgm:prSet presAssocID="{E420C67E-C4C2-476B-9B47-FFB47D587009}" presName="hierRoot2" presStyleCnt="0">
        <dgm:presLayoutVars>
          <dgm:hierBranch val="init"/>
        </dgm:presLayoutVars>
      </dgm:prSet>
      <dgm:spPr/>
    </dgm:pt>
    <dgm:pt modelId="{72B31F8C-4060-4D82-8D0A-8A332812C464}" type="pres">
      <dgm:prSet presAssocID="{E420C67E-C4C2-476B-9B47-FFB47D587009}" presName="rootComposite" presStyleCnt="0"/>
      <dgm:spPr/>
    </dgm:pt>
    <dgm:pt modelId="{F0ED6141-24DB-4164-A2D4-B51E750525CD}" type="pres">
      <dgm:prSet presAssocID="{E420C67E-C4C2-476B-9B47-FFB47D587009}" presName="rootText" presStyleLbl="node2" presStyleIdx="1" presStyleCnt="4" custLinFactNeighborX="65595" custLinFactNeighborY="2929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5256018-C335-4CDB-9EC5-7AE2ABAC1E00}" type="pres">
      <dgm:prSet presAssocID="{E420C67E-C4C2-476B-9B47-FFB47D587009}" presName="rootConnector" presStyleLbl="node2" presStyleIdx="1" presStyleCnt="4"/>
      <dgm:spPr/>
      <dgm:t>
        <a:bodyPr/>
        <a:lstStyle/>
        <a:p>
          <a:endParaRPr lang="en-US"/>
        </a:p>
      </dgm:t>
    </dgm:pt>
    <dgm:pt modelId="{2A7D3334-4741-4667-BCDB-1A78491B4FD4}" type="pres">
      <dgm:prSet presAssocID="{E420C67E-C4C2-476B-9B47-FFB47D587009}" presName="hierChild4" presStyleCnt="0"/>
      <dgm:spPr/>
    </dgm:pt>
    <dgm:pt modelId="{CC07306D-4BD7-4477-BB61-A954489058D6}" type="pres">
      <dgm:prSet presAssocID="{C3334397-F4C9-43FD-9DE7-786437A51BF8}" presName="Name37" presStyleLbl="parChTrans1D3" presStyleIdx="4" presStyleCnt="14"/>
      <dgm:spPr/>
      <dgm:t>
        <a:bodyPr/>
        <a:lstStyle/>
        <a:p>
          <a:endParaRPr lang="en-US"/>
        </a:p>
      </dgm:t>
    </dgm:pt>
    <dgm:pt modelId="{0ECB6EE9-64D7-46FB-8A0A-B83CD370F0B4}" type="pres">
      <dgm:prSet presAssocID="{0216D3CF-84E5-4443-8082-6C6C297E9A4D}" presName="hierRoot2" presStyleCnt="0">
        <dgm:presLayoutVars>
          <dgm:hierBranch val="init"/>
        </dgm:presLayoutVars>
      </dgm:prSet>
      <dgm:spPr/>
    </dgm:pt>
    <dgm:pt modelId="{9D96850F-E3A0-4435-B942-5F48B18AC5F4}" type="pres">
      <dgm:prSet presAssocID="{0216D3CF-84E5-4443-8082-6C6C297E9A4D}" presName="rootComposite" presStyleCnt="0"/>
      <dgm:spPr/>
    </dgm:pt>
    <dgm:pt modelId="{CBCDE87F-FA6C-44B8-A9C2-1E747BE7F736}" type="pres">
      <dgm:prSet presAssocID="{0216D3CF-84E5-4443-8082-6C6C297E9A4D}" presName="rootText" presStyleLbl="node3" presStyleIdx="4" presStyleCnt="14" custScaleX="130737" custLinFactY="2590" custLinFactNeighborX="60785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F9F174C-7D69-49F6-A7FE-7ED9990EB82A}" type="pres">
      <dgm:prSet presAssocID="{0216D3CF-84E5-4443-8082-6C6C297E9A4D}" presName="rootConnector" presStyleLbl="node3" presStyleIdx="4" presStyleCnt="14"/>
      <dgm:spPr/>
      <dgm:t>
        <a:bodyPr/>
        <a:lstStyle/>
        <a:p>
          <a:endParaRPr lang="en-US"/>
        </a:p>
      </dgm:t>
    </dgm:pt>
    <dgm:pt modelId="{1934090D-CBAE-4AB8-9BE7-C9762145998D}" type="pres">
      <dgm:prSet presAssocID="{0216D3CF-84E5-4443-8082-6C6C297E9A4D}" presName="hierChild4" presStyleCnt="0"/>
      <dgm:spPr/>
    </dgm:pt>
    <dgm:pt modelId="{7BCCCAFF-8404-460B-9A5A-B8BF91057993}" type="pres">
      <dgm:prSet presAssocID="{0216D3CF-84E5-4443-8082-6C6C297E9A4D}" presName="hierChild5" presStyleCnt="0"/>
      <dgm:spPr/>
    </dgm:pt>
    <dgm:pt modelId="{FE10A4AF-D8A8-4F2D-9661-56E5DBB5B2C5}" type="pres">
      <dgm:prSet presAssocID="{62301F5E-BDD5-4369-B9CF-5999FECA1C85}" presName="Name37" presStyleLbl="parChTrans1D3" presStyleIdx="5" presStyleCnt="14"/>
      <dgm:spPr/>
      <dgm:t>
        <a:bodyPr/>
        <a:lstStyle/>
        <a:p>
          <a:endParaRPr lang="en-US"/>
        </a:p>
      </dgm:t>
    </dgm:pt>
    <dgm:pt modelId="{6E36B90A-357D-4409-934D-6F40EC568AE0}" type="pres">
      <dgm:prSet presAssocID="{90833815-F732-45AF-B735-7A208BE16A8A}" presName="hierRoot2" presStyleCnt="0">
        <dgm:presLayoutVars>
          <dgm:hierBranch val="init"/>
        </dgm:presLayoutVars>
      </dgm:prSet>
      <dgm:spPr/>
    </dgm:pt>
    <dgm:pt modelId="{AB55976F-0A75-48BF-8621-9232364F260E}" type="pres">
      <dgm:prSet presAssocID="{90833815-F732-45AF-B735-7A208BE16A8A}" presName="rootComposite" presStyleCnt="0"/>
      <dgm:spPr/>
    </dgm:pt>
    <dgm:pt modelId="{5D0F02D1-4A23-4B53-AF4F-3529BE69829E}" type="pres">
      <dgm:prSet presAssocID="{90833815-F732-45AF-B735-7A208BE16A8A}" presName="rootText" presStyleLbl="node3" presStyleIdx="5" presStyleCnt="14" custScaleX="173065" custScaleY="132413" custLinFactNeighborX="60785" custLinFactNeighborY="7638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FF15CAA-9BF1-4437-B877-2B6831555847}" type="pres">
      <dgm:prSet presAssocID="{90833815-F732-45AF-B735-7A208BE16A8A}" presName="rootConnector" presStyleLbl="node3" presStyleIdx="5" presStyleCnt="14"/>
      <dgm:spPr/>
      <dgm:t>
        <a:bodyPr/>
        <a:lstStyle/>
        <a:p>
          <a:endParaRPr lang="en-US"/>
        </a:p>
      </dgm:t>
    </dgm:pt>
    <dgm:pt modelId="{8EE5665B-F21D-4DA6-A444-6C77DD3C6F95}" type="pres">
      <dgm:prSet presAssocID="{90833815-F732-45AF-B735-7A208BE16A8A}" presName="hierChild4" presStyleCnt="0"/>
      <dgm:spPr/>
    </dgm:pt>
    <dgm:pt modelId="{F1F43870-C4AC-4AF4-AB05-6A054FC06D63}" type="pres">
      <dgm:prSet presAssocID="{90833815-F732-45AF-B735-7A208BE16A8A}" presName="hierChild5" presStyleCnt="0"/>
      <dgm:spPr/>
    </dgm:pt>
    <dgm:pt modelId="{1D4D3FE4-1739-4B3C-ACD2-597D18FBC50F}" type="pres">
      <dgm:prSet presAssocID="{453F9760-1876-428B-8CB6-DA8F60516D89}" presName="Name37" presStyleLbl="parChTrans1D3" presStyleIdx="6" presStyleCnt="14"/>
      <dgm:spPr/>
      <dgm:t>
        <a:bodyPr/>
        <a:lstStyle/>
        <a:p>
          <a:endParaRPr lang="en-US"/>
        </a:p>
      </dgm:t>
    </dgm:pt>
    <dgm:pt modelId="{9115B6B6-EA79-4FE0-843B-D82CDE234246}" type="pres">
      <dgm:prSet presAssocID="{2F6572D1-3E4E-41CC-B816-15F6AA753750}" presName="hierRoot2" presStyleCnt="0">
        <dgm:presLayoutVars>
          <dgm:hierBranch val="init"/>
        </dgm:presLayoutVars>
      </dgm:prSet>
      <dgm:spPr/>
    </dgm:pt>
    <dgm:pt modelId="{B54B6D9A-0CB7-42FF-A0FD-F2137F2080D7}" type="pres">
      <dgm:prSet presAssocID="{2F6572D1-3E4E-41CC-B816-15F6AA753750}" presName="rootComposite" presStyleCnt="0"/>
      <dgm:spPr/>
    </dgm:pt>
    <dgm:pt modelId="{7BABB840-5689-4566-85C9-55C4A127C4C6}" type="pres">
      <dgm:prSet presAssocID="{2F6572D1-3E4E-41CC-B816-15F6AA753750}" presName="rootText" presStyleLbl="node3" presStyleIdx="6" presStyleCnt="14" custScaleX="151679" custLinFactNeighborX="60785" custLinFactNeighborY="7017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3C99CCA-0A47-4420-ABC8-53654C0C3796}" type="pres">
      <dgm:prSet presAssocID="{2F6572D1-3E4E-41CC-B816-15F6AA753750}" presName="rootConnector" presStyleLbl="node3" presStyleIdx="6" presStyleCnt="14"/>
      <dgm:spPr/>
      <dgm:t>
        <a:bodyPr/>
        <a:lstStyle/>
        <a:p>
          <a:endParaRPr lang="en-US"/>
        </a:p>
      </dgm:t>
    </dgm:pt>
    <dgm:pt modelId="{0D889D42-77FB-49A7-B6E8-3A8C670AFEAD}" type="pres">
      <dgm:prSet presAssocID="{2F6572D1-3E4E-41CC-B816-15F6AA753750}" presName="hierChild4" presStyleCnt="0"/>
      <dgm:spPr/>
    </dgm:pt>
    <dgm:pt modelId="{6BE4F57E-EC21-4523-B1EB-3AEDD24C4D44}" type="pres">
      <dgm:prSet presAssocID="{2F6572D1-3E4E-41CC-B816-15F6AA753750}" presName="hierChild5" presStyleCnt="0"/>
      <dgm:spPr/>
    </dgm:pt>
    <dgm:pt modelId="{3A94D9E8-C2A3-4765-9477-D710CC646957}" type="pres">
      <dgm:prSet presAssocID="{6C5C9B86-7AAA-465B-98FF-E3F38189A3AE}" presName="Name37" presStyleLbl="parChTrans1D3" presStyleIdx="7" presStyleCnt="14"/>
      <dgm:spPr/>
      <dgm:t>
        <a:bodyPr/>
        <a:lstStyle/>
        <a:p>
          <a:endParaRPr lang="en-US"/>
        </a:p>
      </dgm:t>
    </dgm:pt>
    <dgm:pt modelId="{2EAD44A1-134B-439B-87EC-257234921AE5}" type="pres">
      <dgm:prSet presAssocID="{CFEBB133-5D80-4E9D-815E-BA7E2B5804D2}" presName="hierRoot2" presStyleCnt="0">
        <dgm:presLayoutVars>
          <dgm:hierBranch val="init"/>
        </dgm:presLayoutVars>
      </dgm:prSet>
      <dgm:spPr/>
    </dgm:pt>
    <dgm:pt modelId="{2FB73BF3-3C5D-4AD3-9D1C-8A589100FCB7}" type="pres">
      <dgm:prSet presAssocID="{CFEBB133-5D80-4E9D-815E-BA7E2B5804D2}" presName="rootComposite" presStyleCnt="0"/>
      <dgm:spPr/>
    </dgm:pt>
    <dgm:pt modelId="{50D60845-A14B-4DD0-8DB4-8B07FEB31A21}" type="pres">
      <dgm:prSet presAssocID="{CFEBB133-5D80-4E9D-815E-BA7E2B5804D2}" presName="rootText" presStyleLbl="node3" presStyleIdx="7" presStyleCnt="14" custScaleX="163721" custLinFactNeighborX="60785" custLinFactNeighborY="7594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55C39B9-C17D-4782-B68D-D9F73AAEE095}" type="pres">
      <dgm:prSet presAssocID="{CFEBB133-5D80-4E9D-815E-BA7E2B5804D2}" presName="rootConnector" presStyleLbl="node3" presStyleIdx="7" presStyleCnt="14"/>
      <dgm:spPr/>
      <dgm:t>
        <a:bodyPr/>
        <a:lstStyle/>
        <a:p>
          <a:endParaRPr lang="en-US"/>
        </a:p>
      </dgm:t>
    </dgm:pt>
    <dgm:pt modelId="{FE161E8F-9C2C-4330-91D6-9E6A7C6F19FB}" type="pres">
      <dgm:prSet presAssocID="{CFEBB133-5D80-4E9D-815E-BA7E2B5804D2}" presName="hierChild4" presStyleCnt="0"/>
      <dgm:spPr/>
    </dgm:pt>
    <dgm:pt modelId="{DCFA5C64-38E4-453B-BB1F-AE8ADB7F8B50}" type="pres">
      <dgm:prSet presAssocID="{CFEBB133-5D80-4E9D-815E-BA7E2B5804D2}" presName="hierChild5" presStyleCnt="0"/>
      <dgm:spPr/>
    </dgm:pt>
    <dgm:pt modelId="{6240857E-8E92-4FD3-BB54-32F6C167CD09}" type="pres">
      <dgm:prSet presAssocID="{B8FD3D24-FF5C-481A-BFA0-ACCFF5DDB239}" presName="Name37" presStyleLbl="parChTrans1D3" presStyleIdx="8" presStyleCnt="14"/>
      <dgm:spPr/>
      <dgm:t>
        <a:bodyPr/>
        <a:lstStyle/>
        <a:p>
          <a:endParaRPr lang="en-US"/>
        </a:p>
      </dgm:t>
    </dgm:pt>
    <dgm:pt modelId="{15B9C00A-6A73-4158-81BD-1F7308096CC8}" type="pres">
      <dgm:prSet presAssocID="{52015A54-073D-4B92-8FF1-0F1F5FE1561A}" presName="hierRoot2" presStyleCnt="0">
        <dgm:presLayoutVars>
          <dgm:hierBranch val="init"/>
        </dgm:presLayoutVars>
      </dgm:prSet>
      <dgm:spPr/>
    </dgm:pt>
    <dgm:pt modelId="{0B45F736-1A0E-4A7B-A649-FBC58E1CBB7D}" type="pres">
      <dgm:prSet presAssocID="{52015A54-073D-4B92-8FF1-0F1F5FE1561A}" presName="rootComposite" presStyleCnt="0"/>
      <dgm:spPr/>
    </dgm:pt>
    <dgm:pt modelId="{BD1C35E1-9751-4DD4-B9AF-1CFE8C8B4E70}" type="pres">
      <dgm:prSet presAssocID="{52015A54-073D-4B92-8FF1-0F1F5FE1561A}" presName="rootText" presStyleLbl="node3" presStyleIdx="8" presStyleCnt="14" custScaleX="180918" custLinFactNeighborX="60785" custLinFactNeighborY="6801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9D97F7E-F6E2-4876-9CCF-33FF7FB7A306}" type="pres">
      <dgm:prSet presAssocID="{52015A54-073D-4B92-8FF1-0F1F5FE1561A}" presName="rootConnector" presStyleLbl="node3" presStyleIdx="8" presStyleCnt="14"/>
      <dgm:spPr/>
      <dgm:t>
        <a:bodyPr/>
        <a:lstStyle/>
        <a:p>
          <a:endParaRPr lang="en-US"/>
        </a:p>
      </dgm:t>
    </dgm:pt>
    <dgm:pt modelId="{29CC4417-FD35-462A-AB7F-4A305202200E}" type="pres">
      <dgm:prSet presAssocID="{52015A54-073D-4B92-8FF1-0F1F5FE1561A}" presName="hierChild4" presStyleCnt="0"/>
      <dgm:spPr/>
    </dgm:pt>
    <dgm:pt modelId="{9EF0C1A1-B522-4DAB-AD15-507C0F3FBD56}" type="pres">
      <dgm:prSet presAssocID="{52015A54-073D-4B92-8FF1-0F1F5FE1561A}" presName="hierChild5" presStyleCnt="0"/>
      <dgm:spPr/>
    </dgm:pt>
    <dgm:pt modelId="{1DBB8D6B-1EA9-448A-B87B-A162873E7B21}" type="pres">
      <dgm:prSet presAssocID="{E420C67E-C4C2-476B-9B47-FFB47D587009}" presName="hierChild5" presStyleCnt="0"/>
      <dgm:spPr/>
    </dgm:pt>
    <dgm:pt modelId="{C137CAE9-66E1-459B-A733-9B53B02E07AF}" type="pres">
      <dgm:prSet presAssocID="{6ED4E1AA-EFDD-4E70-836E-3DB36084DE98}" presName="Name37" presStyleLbl="parChTrans1D2" presStyleIdx="2" presStyleCnt="4"/>
      <dgm:spPr/>
      <dgm:t>
        <a:bodyPr/>
        <a:lstStyle/>
        <a:p>
          <a:endParaRPr lang="en-US"/>
        </a:p>
      </dgm:t>
    </dgm:pt>
    <dgm:pt modelId="{35CBA655-D40F-4A2B-B71A-711D392B5A84}" type="pres">
      <dgm:prSet presAssocID="{1CE2D78B-C788-472A-8424-7F9A4AB5205E}" presName="hierRoot2" presStyleCnt="0">
        <dgm:presLayoutVars>
          <dgm:hierBranch val="init"/>
        </dgm:presLayoutVars>
      </dgm:prSet>
      <dgm:spPr/>
    </dgm:pt>
    <dgm:pt modelId="{9DC86AED-B6DB-4100-9EA0-4E60FFB4A367}" type="pres">
      <dgm:prSet presAssocID="{1CE2D78B-C788-472A-8424-7F9A4AB5205E}" presName="rootComposite" presStyleCnt="0"/>
      <dgm:spPr/>
    </dgm:pt>
    <dgm:pt modelId="{A5F2589C-C16C-45F2-9A3D-F2A6CB2476D1}" type="pres">
      <dgm:prSet presAssocID="{1CE2D78B-C788-472A-8424-7F9A4AB5205E}" presName="rootText" presStyleLbl="node2" presStyleIdx="2" presStyleCnt="4" custScaleX="116568" custLinFactX="3180" custLinFactNeighborX="100000" custLinFactNeighborY="3464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D7B6648-0B7F-4E1F-B6C5-CE0E2F04B9FF}" type="pres">
      <dgm:prSet presAssocID="{1CE2D78B-C788-472A-8424-7F9A4AB5205E}" presName="rootConnector" presStyleLbl="node2" presStyleIdx="2" presStyleCnt="4"/>
      <dgm:spPr/>
      <dgm:t>
        <a:bodyPr/>
        <a:lstStyle/>
        <a:p>
          <a:endParaRPr lang="en-US"/>
        </a:p>
      </dgm:t>
    </dgm:pt>
    <dgm:pt modelId="{29CE8073-D253-4588-B954-7167D33B1947}" type="pres">
      <dgm:prSet presAssocID="{1CE2D78B-C788-472A-8424-7F9A4AB5205E}" presName="hierChild4" presStyleCnt="0"/>
      <dgm:spPr/>
    </dgm:pt>
    <dgm:pt modelId="{AEDC7120-FE6F-49D8-95F2-AB1B2B6AC9A8}" type="pres">
      <dgm:prSet presAssocID="{F0BD47AB-7AC9-40A2-A96D-1A911EFDE7FF}" presName="Name37" presStyleLbl="parChTrans1D3" presStyleIdx="9" presStyleCnt="14"/>
      <dgm:spPr/>
      <dgm:t>
        <a:bodyPr/>
        <a:lstStyle/>
        <a:p>
          <a:endParaRPr lang="en-US"/>
        </a:p>
      </dgm:t>
    </dgm:pt>
    <dgm:pt modelId="{F65159AB-B6AE-4C58-BE85-DB4966F15FBA}" type="pres">
      <dgm:prSet presAssocID="{A240A1E1-162D-4A6E-A806-B6FF45B3AB68}" presName="hierRoot2" presStyleCnt="0">
        <dgm:presLayoutVars>
          <dgm:hierBranch val="init"/>
        </dgm:presLayoutVars>
      </dgm:prSet>
      <dgm:spPr/>
    </dgm:pt>
    <dgm:pt modelId="{4413A7CD-B07B-4481-95F7-63264BEB8326}" type="pres">
      <dgm:prSet presAssocID="{A240A1E1-162D-4A6E-A806-B6FF45B3AB68}" presName="rootComposite" presStyleCnt="0"/>
      <dgm:spPr/>
    </dgm:pt>
    <dgm:pt modelId="{6E033C69-6BA8-4812-AE4E-0022A986E944}" type="pres">
      <dgm:prSet presAssocID="{A240A1E1-162D-4A6E-A806-B6FF45B3AB68}" presName="rootText" presStyleLbl="node3" presStyleIdx="9" presStyleCnt="14" custLinFactX="16434" custLinFactY="20254" custLinFactNeighborX="1000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0C564F4-BF5C-4321-B86B-65391CEDEFC7}" type="pres">
      <dgm:prSet presAssocID="{A240A1E1-162D-4A6E-A806-B6FF45B3AB68}" presName="rootConnector" presStyleLbl="node3" presStyleIdx="9" presStyleCnt="14"/>
      <dgm:spPr/>
      <dgm:t>
        <a:bodyPr/>
        <a:lstStyle/>
        <a:p>
          <a:endParaRPr lang="en-US"/>
        </a:p>
      </dgm:t>
    </dgm:pt>
    <dgm:pt modelId="{7C0A51FE-5187-4FBA-A9F6-DFFAA1B3DD3E}" type="pres">
      <dgm:prSet presAssocID="{A240A1E1-162D-4A6E-A806-B6FF45B3AB68}" presName="hierChild4" presStyleCnt="0"/>
      <dgm:spPr/>
    </dgm:pt>
    <dgm:pt modelId="{A5F1F6CB-B812-4FEA-ACD0-E838992C8274}" type="pres">
      <dgm:prSet presAssocID="{A240A1E1-162D-4A6E-A806-B6FF45B3AB68}" presName="hierChild5" presStyleCnt="0"/>
      <dgm:spPr/>
    </dgm:pt>
    <dgm:pt modelId="{28E82B1A-B1F2-4CC5-9B64-B60015CBF624}" type="pres">
      <dgm:prSet presAssocID="{A60BCA66-49BB-4275-9110-8B471B3FC59B}" presName="Name37" presStyleLbl="parChTrans1D3" presStyleIdx="10" presStyleCnt="14"/>
      <dgm:spPr/>
      <dgm:t>
        <a:bodyPr/>
        <a:lstStyle/>
        <a:p>
          <a:endParaRPr lang="en-US"/>
        </a:p>
      </dgm:t>
    </dgm:pt>
    <dgm:pt modelId="{B22DAA2B-22C5-4EFA-A0A6-9AD0235D2103}" type="pres">
      <dgm:prSet presAssocID="{35016019-1F0E-47A9-A9CB-AE98C0AFCFC1}" presName="hierRoot2" presStyleCnt="0">
        <dgm:presLayoutVars>
          <dgm:hierBranch val="init"/>
        </dgm:presLayoutVars>
      </dgm:prSet>
      <dgm:spPr/>
    </dgm:pt>
    <dgm:pt modelId="{514CA667-AA27-4D37-9311-1D5D85EF643D}" type="pres">
      <dgm:prSet presAssocID="{35016019-1F0E-47A9-A9CB-AE98C0AFCFC1}" presName="rootComposite" presStyleCnt="0"/>
      <dgm:spPr/>
    </dgm:pt>
    <dgm:pt modelId="{428A54D9-43F6-47B6-B3A2-FDCE09CB5A97}" type="pres">
      <dgm:prSet presAssocID="{35016019-1F0E-47A9-A9CB-AE98C0AFCFC1}" presName="rootText" presStyleLbl="node3" presStyleIdx="10" presStyleCnt="14" custLinFactX="16434" custLinFactY="20254" custLinFactNeighborX="1000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1DAB6FE-4097-4695-9397-7DCCE262634B}" type="pres">
      <dgm:prSet presAssocID="{35016019-1F0E-47A9-A9CB-AE98C0AFCFC1}" presName="rootConnector" presStyleLbl="node3" presStyleIdx="10" presStyleCnt="14"/>
      <dgm:spPr/>
      <dgm:t>
        <a:bodyPr/>
        <a:lstStyle/>
        <a:p>
          <a:endParaRPr lang="en-US"/>
        </a:p>
      </dgm:t>
    </dgm:pt>
    <dgm:pt modelId="{F4CC167B-F2F2-455C-9A45-823F18AFEF9A}" type="pres">
      <dgm:prSet presAssocID="{35016019-1F0E-47A9-A9CB-AE98C0AFCFC1}" presName="hierChild4" presStyleCnt="0"/>
      <dgm:spPr/>
    </dgm:pt>
    <dgm:pt modelId="{A5D0575B-48E0-4A98-88E8-8B4961A6F762}" type="pres">
      <dgm:prSet presAssocID="{35016019-1F0E-47A9-A9CB-AE98C0AFCFC1}" presName="hierChild5" presStyleCnt="0"/>
      <dgm:spPr/>
    </dgm:pt>
    <dgm:pt modelId="{11628582-088E-42FA-B6EC-953F652565B0}" type="pres">
      <dgm:prSet presAssocID="{9275B05E-F520-4192-9B33-84AEEBC3F62D}" presName="Name37" presStyleLbl="parChTrans1D3" presStyleIdx="11" presStyleCnt="14"/>
      <dgm:spPr/>
      <dgm:t>
        <a:bodyPr/>
        <a:lstStyle/>
        <a:p>
          <a:endParaRPr lang="en-US"/>
        </a:p>
      </dgm:t>
    </dgm:pt>
    <dgm:pt modelId="{7E6CA653-D7FD-4B20-AE44-C1F44E30C01B}" type="pres">
      <dgm:prSet presAssocID="{49742260-F14F-4BCB-8D88-ADD2EB5024EC}" presName="hierRoot2" presStyleCnt="0">
        <dgm:presLayoutVars>
          <dgm:hierBranch val="init"/>
        </dgm:presLayoutVars>
      </dgm:prSet>
      <dgm:spPr/>
    </dgm:pt>
    <dgm:pt modelId="{E179F35A-A640-480A-9C40-3D39813B5DA3}" type="pres">
      <dgm:prSet presAssocID="{49742260-F14F-4BCB-8D88-ADD2EB5024EC}" presName="rootComposite" presStyleCnt="0"/>
      <dgm:spPr/>
    </dgm:pt>
    <dgm:pt modelId="{93507A0E-B606-4F7A-9C01-283769128FF2}" type="pres">
      <dgm:prSet presAssocID="{49742260-F14F-4BCB-8D88-ADD2EB5024EC}" presName="rootText" presStyleLbl="node3" presStyleIdx="11" presStyleCnt="14" custLinFactX="16434" custLinFactY="20254" custLinFactNeighborX="1000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A7ED8CE-14CF-4D38-BE63-D19E93618025}" type="pres">
      <dgm:prSet presAssocID="{49742260-F14F-4BCB-8D88-ADD2EB5024EC}" presName="rootConnector" presStyleLbl="node3" presStyleIdx="11" presStyleCnt="14"/>
      <dgm:spPr/>
      <dgm:t>
        <a:bodyPr/>
        <a:lstStyle/>
        <a:p>
          <a:endParaRPr lang="en-US"/>
        </a:p>
      </dgm:t>
    </dgm:pt>
    <dgm:pt modelId="{D06BFE77-47E2-4E99-9240-F26F88BFBEAB}" type="pres">
      <dgm:prSet presAssocID="{49742260-F14F-4BCB-8D88-ADD2EB5024EC}" presName="hierChild4" presStyleCnt="0"/>
      <dgm:spPr/>
    </dgm:pt>
    <dgm:pt modelId="{801CA00E-B2B0-4EC5-9889-E9E28C332373}" type="pres">
      <dgm:prSet presAssocID="{49742260-F14F-4BCB-8D88-ADD2EB5024EC}" presName="hierChild5" presStyleCnt="0"/>
      <dgm:spPr/>
    </dgm:pt>
    <dgm:pt modelId="{528156B2-647C-44D5-ABAD-EBDCDF85B348}" type="pres">
      <dgm:prSet presAssocID="{1CE2D78B-C788-472A-8424-7F9A4AB5205E}" presName="hierChild5" presStyleCnt="0"/>
      <dgm:spPr/>
    </dgm:pt>
    <dgm:pt modelId="{B562ECC0-9994-4B01-9E77-D5C13C496118}" type="pres">
      <dgm:prSet presAssocID="{54165FB5-F7A3-4BBF-B199-2BE2BA410DE8}" presName="Name37" presStyleLbl="parChTrans1D2" presStyleIdx="3" presStyleCnt="4"/>
      <dgm:spPr/>
      <dgm:t>
        <a:bodyPr/>
        <a:lstStyle/>
        <a:p>
          <a:endParaRPr lang="en-US"/>
        </a:p>
      </dgm:t>
    </dgm:pt>
    <dgm:pt modelId="{E18799E9-9DA7-423F-B7B3-369EFE76B3B6}" type="pres">
      <dgm:prSet presAssocID="{C35FC96E-9015-4790-BDC3-6E0D4D502FCB}" presName="hierRoot2" presStyleCnt="0">
        <dgm:presLayoutVars>
          <dgm:hierBranch val="init"/>
        </dgm:presLayoutVars>
      </dgm:prSet>
      <dgm:spPr/>
    </dgm:pt>
    <dgm:pt modelId="{354F8417-6C70-4131-8450-E52EDD2EFA17}" type="pres">
      <dgm:prSet presAssocID="{C35FC96E-9015-4790-BDC3-6E0D4D502FCB}" presName="rootComposite" presStyleCnt="0"/>
      <dgm:spPr/>
    </dgm:pt>
    <dgm:pt modelId="{67A44139-B3F0-4118-89E8-A44A0D503C36}" type="pres">
      <dgm:prSet presAssocID="{C35FC96E-9015-4790-BDC3-6E0D4D502FCB}" presName="rootText" presStyleLbl="node2" presStyleIdx="3" presStyleCnt="4" custLinFactNeighborX="53438" custLinFactNeighborY="2985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2267437-59D9-4F70-9854-AF295901641A}" type="pres">
      <dgm:prSet presAssocID="{C35FC96E-9015-4790-BDC3-6E0D4D502FCB}" presName="rootConnector" presStyleLbl="node2" presStyleIdx="3" presStyleCnt="4"/>
      <dgm:spPr/>
      <dgm:t>
        <a:bodyPr/>
        <a:lstStyle/>
        <a:p>
          <a:endParaRPr lang="en-US"/>
        </a:p>
      </dgm:t>
    </dgm:pt>
    <dgm:pt modelId="{A6AF8EE9-DBFC-447B-8940-E76A065FD97B}" type="pres">
      <dgm:prSet presAssocID="{C35FC96E-9015-4790-BDC3-6E0D4D502FCB}" presName="hierChild4" presStyleCnt="0"/>
      <dgm:spPr/>
    </dgm:pt>
    <dgm:pt modelId="{2BC6CEE4-3F67-4FA6-8639-65EC4CCFF4D9}" type="pres">
      <dgm:prSet presAssocID="{4E25AF54-5C18-4905-8913-7D1EA2AC6905}" presName="Name37" presStyleLbl="parChTrans1D3" presStyleIdx="12" presStyleCnt="14"/>
      <dgm:spPr/>
      <dgm:t>
        <a:bodyPr/>
        <a:lstStyle/>
        <a:p>
          <a:endParaRPr lang="en-US"/>
        </a:p>
      </dgm:t>
    </dgm:pt>
    <dgm:pt modelId="{56EAD692-CF12-4F08-9E91-48B2A708FB71}" type="pres">
      <dgm:prSet presAssocID="{AFCA2418-8D6B-4E9C-BE52-FC74C908050F}" presName="hierRoot2" presStyleCnt="0">
        <dgm:presLayoutVars>
          <dgm:hierBranch val="init"/>
        </dgm:presLayoutVars>
      </dgm:prSet>
      <dgm:spPr/>
    </dgm:pt>
    <dgm:pt modelId="{17485795-B1F1-44AB-A6F9-533EF86E010F}" type="pres">
      <dgm:prSet presAssocID="{AFCA2418-8D6B-4E9C-BE52-FC74C908050F}" presName="rootComposite" presStyleCnt="0"/>
      <dgm:spPr/>
    </dgm:pt>
    <dgm:pt modelId="{1B4F947A-69EB-46FF-A1EA-7664283D213E}" type="pres">
      <dgm:prSet presAssocID="{AFCA2418-8D6B-4E9C-BE52-FC74C908050F}" presName="rootText" presStyleLbl="node3" presStyleIdx="12" presStyleCnt="14" custScaleX="167040" custScaleY="138944" custLinFactX="100000" custLinFactY="47441" custLinFactNeighborX="145609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553D0C6-AEE4-4F65-8DAC-62449D94D6A7}" type="pres">
      <dgm:prSet presAssocID="{AFCA2418-8D6B-4E9C-BE52-FC74C908050F}" presName="rootConnector" presStyleLbl="node3" presStyleIdx="12" presStyleCnt="14"/>
      <dgm:spPr/>
      <dgm:t>
        <a:bodyPr/>
        <a:lstStyle/>
        <a:p>
          <a:endParaRPr lang="en-US"/>
        </a:p>
      </dgm:t>
    </dgm:pt>
    <dgm:pt modelId="{704B6FE3-1A93-464C-BD7D-26786EA03069}" type="pres">
      <dgm:prSet presAssocID="{AFCA2418-8D6B-4E9C-BE52-FC74C908050F}" presName="hierChild4" presStyleCnt="0"/>
      <dgm:spPr/>
    </dgm:pt>
    <dgm:pt modelId="{DA9CB0A7-0D84-4FCC-8CAA-C663566F179D}" type="pres">
      <dgm:prSet presAssocID="{AFCA2418-8D6B-4E9C-BE52-FC74C908050F}" presName="hierChild5" presStyleCnt="0"/>
      <dgm:spPr/>
    </dgm:pt>
    <dgm:pt modelId="{981682D2-6375-4500-994F-C7CC83594561}" type="pres">
      <dgm:prSet presAssocID="{645C00E4-762B-4277-AD48-4328B4AF7430}" presName="Name37" presStyleLbl="parChTrans1D3" presStyleIdx="13" presStyleCnt="14"/>
      <dgm:spPr/>
      <dgm:t>
        <a:bodyPr/>
        <a:lstStyle/>
        <a:p>
          <a:endParaRPr lang="en-US"/>
        </a:p>
      </dgm:t>
    </dgm:pt>
    <dgm:pt modelId="{5AD24796-DC78-4C67-B9F3-06DC4CB79087}" type="pres">
      <dgm:prSet presAssocID="{C6E107C8-C87F-4E03-9C51-3B0FC309122B}" presName="hierRoot2" presStyleCnt="0">
        <dgm:presLayoutVars>
          <dgm:hierBranch val="init"/>
        </dgm:presLayoutVars>
      </dgm:prSet>
      <dgm:spPr/>
    </dgm:pt>
    <dgm:pt modelId="{0E2F19BE-3966-4520-8470-5F47706807ED}" type="pres">
      <dgm:prSet presAssocID="{C6E107C8-C87F-4E03-9C51-3B0FC309122B}" presName="rootComposite" presStyleCnt="0"/>
      <dgm:spPr/>
    </dgm:pt>
    <dgm:pt modelId="{78B1DB83-1FBB-4B72-AADA-6CBB1DAEF356}" type="pres">
      <dgm:prSet presAssocID="{C6E107C8-C87F-4E03-9C51-3B0FC309122B}" presName="rootText" presStyleLbl="node3" presStyleIdx="13" presStyleCnt="14" custScaleX="182665" custLinFactY="153975" custLinFactNeighborX="-26776" custLinFactNeighborY="2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B23809A-293F-4A54-B283-6C2D984F118D}" type="pres">
      <dgm:prSet presAssocID="{C6E107C8-C87F-4E03-9C51-3B0FC309122B}" presName="rootConnector" presStyleLbl="node3" presStyleIdx="13" presStyleCnt="14"/>
      <dgm:spPr/>
      <dgm:t>
        <a:bodyPr/>
        <a:lstStyle/>
        <a:p>
          <a:endParaRPr lang="en-US"/>
        </a:p>
      </dgm:t>
    </dgm:pt>
    <dgm:pt modelId="{9F248D76-C2BC-4060-8C04-B530C444F409}" type="pres">
      <dgm:prSet presAssocID="{C6E107C8-C87F-4E03-9C51-3B0FC309122B}" presName="hierChild4" presStyleCnt="0"/>
      <dgm:spPr/>
    </dgm:pt>
    <dgm:pt modelId="{AD70828E-DDD4-480C-BDFF-1E596F6615D1}" type="pres">
      <dgm:prSet presAssocID="{28774598-E592-4921-B255-0225EB6D096E}" presName="Name37" presStyleLbl="parChTrans1D4" presStyleIdx="0" presStyleCnt="1"/>
      <dgm:spPr/>
      <dgm:t>
        <a:bodyPr/>
        <a:lstStyle/>
        <a:p>
          <a:endParaRPr lang="en-US"/>
        </a:p>
      </dgm:t>
    </dgm:pt>
    <dgm:pt modelId="{147EF30B-BA3D-4473-9AD2-CC7014F27C11}" type="pres">
      <dgm:prSet presAssocID="{09967023-FD4B-4E34-A1C9-A393B75E32BA}" presName="hierRoot2" presStyleCnt="0">
        <dgm:presLayoutVars>
          <dgm:hierBranch val="init"/>
        </dgm:presLayoutVars>
      </dgm:prSet>
      <dgm:spPr/>
    </dgm:pt>
    <dgm:pt modelId="{77306BB1-6CDB-40C5-85B1-4980890A9206}" type="pres">
      <dgm:prSet presAssocID="{09967023-FD4B-4E34-A1C9-A393B75E32BA}" presName="rootComposite" presStyleCnt="0"/>
      <dgm:spPr/>
    </dgm:pt>
    <dgm:pt modelId="{43C79B55-7800-4403-B3B4-49E5363FFF1E}" type="pres">
      <dgm:prSet presAssocID="{09967023-FD4B-4E34-A1C9-A393B75E32BA}" presName="rootText" presStyleLbl="node4" presStyleIdx="0" presStyleCnt="1" custScaleX="178849" custScaleY="100000" custLinFactY="200000" custLinFactNeighborX="-36429" custLinFactNeighborY="21923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D009694-C9A9-4545-B9B4-AE343C4C6314}" type="pres">
      <dgm:prSet presAssocID="{09967023-FD4B-4E34-A1C9-A393B75E32BA}" presName="rootConnector" presStyleLbl="node4" presStyleIdx="0" presStyleCnt="1"/>
      <dgm:spPr/>
      <dgm:t>
        <a:bodyPr/>
        <a:lstStyle/>
        <a:p>
          <a:endParaRPr lang="en-US"/>
        </a:p>
      </dgm:t>
    </dgm:pt>
    <dgm:pt modelId="{E7CAB4B1-64D6-4507-9B2D-46604CB6848C}" type="pres">
      <dgm:prSet presAssocID="{09967023-FD4B-4E34-A1C9-A393B75E32BA}" presName="hierChild4" presStyleCnt="0"/>
      <dgm:spPr/>
    </dgm:pt>
    <dgm:pt modelId="{283463B1-15A6-4BEF-B96E-DE2502D9F6DF}" type="pres">
      <dgm:prSet presAssocID="{09967023-FD4B-4E34-A1C9-A393B75E32BA}" presName="hierChild5" presStyleCnt="0"/>
      <dgm:spPr/>
    </dgm:pt>
    <dgm:pt modelId="{6105CD00-5C50-452A-994E-5B0FFFC4DA91}" type="pres">
      <dgm:prSet presAssocID="{C6E107C8-C87F-4E03-9C51-3B0FC309122B}" presName="hierChild5" presStyleCnt="0"/>
      <dgm:spPr/>
    </dgm:pt>
    <dgm:pt modelId="{430C728D-004C-49FD-A0C1-71CD6E772786}" type="pres">
      <dgm:prSet presAssocID="{C35FC96E-9015-4790-BDC3-6E0D4D502FCB}" presName="hierChild5" presStyleCnt="0"/>
      <dgm:spPr/>
    </dgm:pt>
    <dgm:pt modelId="{B87F60ED-85BE-4872-BA6E-CDCB9CBDC6A3}" type="pres">
      <dgm:prSet presAssocID="{43BDC9E6-B3ED-4E11-B81F-A36F96CA06AD}" presName="hierChild3" presStyleCnt="0"/>
      <dgm:spPr/>
    </dgm:pt>
  </dgm:ptLst>
  <dgm:cxnLst>
    <dgm:cxn modelId="{C7B12242-93F1-42B1-8149-73B2BE7E9DC0}" srcId="{843E3B21-DC9F-4CF8-A7F1-93BF704E47A7}" destId="{720AE7B9-47AD-4FF9-8447-DF1B8C5FD193}" srcOrd="0" destOrd="0" parTransId="{3722DDF4-26E2-4422-A516-DEEAC3ECF65B}" sibTransId="{D7F902F3-F976-415B-98C3-59057320C539}"/>
    <dgm:cxn modelId="{2D5B481D-AE96-4549-9D58-364145256102}" type="presOf" srcId="{9275B05E-F520-4192-9B33-84AEEBC3F62D}" destId="{11628582-088E-42FA-B6EC-953F652565B0}" srcOrd="0" destOrd="0" presId="urn:microsoft.com/office/officeart/2005/8/layout/orgChart1"/>
    <dgm:cxn modelId="{D3133B4F-28E5-43F6-BDF7-EBF0776C3C6D}" type="presOf" srcId="{09967023-FD4B-4E34-A1C9-A393B75E32BA}" destId="{43C79B55-7800-4403-B3B4-49E5363FFF1E}" srcOrd="0" destOrd="0" presId="urn:microsoft.com/office/officeart/2005/8/layout/orgChart1"/>
    <dgm:cxn modelId="{5A42D1F2-C30C-4321-A4DA-3724723A50EC}" type="presOf" srcId="{7D7C3FA2-CE75-4B7D-A218-416906B8D917}" destId="{63F8734B-291F-4EE9-8AEC-5D7130065FE8}" srcOrd="1" destOrd="0" presId="urn:microsoft.com/office/officeart/2005/8/layout/orgChart1"/>
    <dgm:cxn modelId="{D5303A83-A782-4BB6-B537-EB76AE21A31F}" srcId="{E420C67E-C4C2-476B-9B47-FFB47D587009}" destId="{52015A54-073D-4B92-8FF1-0F1F5FE1561A}" srcOrd="4" destOrd="0" parTransId="{B8FD3D24-FF5C-481A-BFA0-ACCFF5DDB239}" sibTransId="{D70B0E39-2F64-4487-9F50-BA872A45E49A}"/>
    <dgm:cxn modelId="{EF17C288-FABF-470A-9F6E-6F1AC60C08BE}" srcId="{E420C67E-C4C2-476B-9B47-FFB47D587009}" destId="{0216D3CF-84E5-4443-8082-6C6C297E9A4D}" srcOrd="0" destOrd="0" parTransId="{C3334397-F4C9-43FD-9DE7-786437A51BF8}" sibTransId="{9C27E3D0-AEBB-4C4C-AFEA-8F9AF608B21E}"/>
    <dgm:cxn modelId="{8716AACB-666C-441B-B217-1DC51BCE5483}" type="presOf" srcId="{A240A1E1-162D-4A6E-A806-B6FF45B3AB68}" destId="{6E033C69-6BA8-4812-AE4E-0022A986E944}" srcOrd="0" destOrd="0" presId="urn:microsoft.com/office/officeart/2005/8/layout/orgChart1"/>
    <dgm:cxn modelId="{5A3D8AEF-23D3-4519-8FB3-DF326B5C95C7}" type="presOf" srcId="{52015A54-073D-4B92-8FF1-0F1F5FE1561A}" destId="{E9D97F7E-F6E2-4876-9CCF-33FF7FB7A306}" srcOrd="1" destOrd="0" presId="urn:microsoft.com/office/officeart/2005/8/layout/orgChart1"/>
    <dgm:cxn modelId="{AA8C594B-F7E9-42CF-9AE1-B9E9B1685404}" type="presOf" srcId="{3722DDF4-26E2-4422-A516-DEEAC3ECF65B}" destId="{A83ED5F7-10A0-45C9-B814-5804FA76917E}" srcOrd="0" destOrd="0" presId="urn:microsoft.com/office/officeart/2005/8/layout/orgChart1"/>
    <dgm:cxn modelId="{61582A51-EDC2-4B1F-A68D-FF77F6D6E2D7}" type="presOf" srcId="{0216D3CF-84E5-4443-8082-6C6C297E9A4D}" destId="{CF9F174C-7D69-49F6-A7FE-7ED9990EB82A}" srcOrd="1" destOrd="0" presId="urn:microsoft.com/office/officeart/2005/8/layout/orgChart1"/>
    <dgm:cxn modelId="{C03204F0-0D21-4D03-A3B4-AC6A6C092A01}" type="presOf" srcId="{09967023-FD4B-4E34-A1C9-A393B75E32BA}" destId="{FD009694-C9A9-4545-B9B4-AE343C4C6314}" srcOrd="1" destOrd="0" presId="urn:microsoft.com/office/officeart/2005/8/layout/orgChart1"/>
    <dgm:cxn modelId="{7F336232-9025-4A37-9758-AD7232A4FA92}" type="presOf" srcId="{E420C67E-C4C2-476B-9B47-FFB47D587009}" destId="{F0ED6141-24DB-4164-A2D4-B51E750525CD}" srcOrd="0" destOrd="0" presId="urn:microsoft.com/office/officeart/2005/8/layout/orgChart1"/>
    <dgm:cxn modelId="{E040E2E2-F016-4F82-9927-EA3D62DA0F57}" srcId="{A26E1133-27F8-42A1-91FE-23383B9ACC99}" destId="{43BDC9E6-B3ED-4E11-B81F-A36F96CA06AD}" srcOrd="0" destOrd="0" parTransId="{818B4425-229C-4D05-BD73-F2583AB7B9C5}" sibTransId="{A3D2AA9D-1D2C-45CA-9A99-0FD9E343747F}"/>
    <dgm:cxn modelId="{40EB00B5-99A0-4F8A-9AD2-7121A87C5210}" type="presOf" srcId="{C35FC96E-9015-4790-BDC3-6E0D4D502FCB}" destId="{B2267437-59D9-4F70-9854-AF295901641A}" srcOrd="1" destOrd="0" presId="urn:microsoft.com/office/officeart/2005/8/layout/orgChart1"/>
    <dgm:cxn modelId="{A0E66910-A417-4433-846A-E364FADC3533}" srcId="{1CE2D78B-C788-472A-8424-7F9A4AB5205E}" destId="{49742260-F14F-4BCB-8D88-ADD2EB5024EC}" srcOrd="2" destOrd="0" parTransId="{9275B05E-F520-4192-9B33-84AEEBC3F62D}" sibTransId="{BDB94797-518D-4543-8D6F-13596FEC7A22}"/>
    <dgm:cxn modelId="{C159F786-ED38-476E-9CAF-598C4BA6A40C}" srcId="{43BDC9E6-B3ED-4E11-B81F-A36F96CA06AD}" destId="{C35FC96E-9015-4790-BDC3-6E0D4D502FCB}" srcOrd="3" destOrd="0" parTransId="{54165FB5-F7A3-4BBF-B199-2BE2BA410DE8}" sibTransId="{599E3296-C316-405C-B222-CEA737D995B5}"/>
    <dgm:cxn modelId="{E351A66C-310C-457C-9C8C-8762F308511D}" type="presOf" srcId="{9B931718-FC68-4B2E-9854-492BCFE6FE83}" destId="{700B55C8-272E-490B-AB5F-A5C6369E8C79}" srcOrd="1" destOrd="0" presId="urn:microsoft.com/office/officeart/2005/8/layout/orgChart1"/>
    <dgm:cxn modelId="{98683C46-9874-4B34-966D-62F895E01C0E}" type="presOf" srcId="{F0BD47AB-7AC9-40A2-A96D-1A911EFDE7FF}" destId="{AEDC7120-FE6F-49D8-95F2-AB1B2B6AC9A8}" srcOrd="0" destOrd="0" presId="urn:microsoft.com/office/officeart/2005/8/layout/orgChart1"/>
    <dgm:cxn modelId="{A630084D-67F8-48A7-9951-F46F3604D1B4}" srcId="{E420C67E-C4C2-476B-9B47-FFB47D587009}" destId="{90833815-F732-45AF-B735-7A208BE16A8A}" srcOrd="1" destOrd="0" parTransId="{62301F5E-BDD5-4369-B9CF-5999FECA1C85}" sibTransId="{7A88FAF5-FAAB-4848-B347-2B42AF8023FF}"/>
    <dgm:cxn modelId="{A7CF0529-ABED-4696-8F92-11C46881C3AA}" type="presOf" srcId="{90833815-F732-45AF-B735-7A208BE16A8A}" destId="{8FF15CAA-9BF1-4437-B877-2B6831555847}" srcOrd="1" destOrd="0" presId="urn:microsoft.com/office/officeart/2005/8/layout/orgChart1"/>
    <dgm:cxn modelId="{226D2A7E-3156-470F-8C1B-8472612F72A5}" type="presOf" srcId="{C6E107C8-C87F-4E03-9C51-3B0FC309122B}" destId="{78B1DB83-1FBB-4B72-AADA-6CBB1DAEF356}" srcOrd="0" destOrd="0" presId="urn:microsoft.com/office/officeart/2005/8/layout/orgChart1"/>
    <dgm:cxn modelId="{F41BB7FA-FB72-4329-B5E5-B93A91EB374E}" type="presOf" srcId="{2F6572D1-3E4E-41CC-B816-15F6AA753750}" destId="{7BABB840-5689-4566-85C9-55C4A127C4C6}" srcOrd="0" destOrd="0" presId="urn:microsoft.com/office/officeart/2005/8/layout/orgChart1"/>
    <dgm:cxn modelId="{070FE192-E276-4135-A201-167BD465FB35}" type="presOf" srcId="{35016019-1F0E-47A9-A9CB-AE98C0AFCFC1}" destId="{428A54D9-43F6-47B6-B3A2-FDCE09CB5A97}" srcOrd="0" destOrd="0" presId="urn:microsoft.com/office/officeart/2005/8/layout/orgChart1"/>
    <dgm:cxn modelId="{AE71E434-657C-4DB0-8655-FFBCF2D09061}" type="presOf" srcId="{35016019-1F0E-47A9-A9CB-AE98C0AFCFC1}" destId="{31DAB6FE-4097-4695-9397-7DCCE262634B}" srcOrd="1" destOrd="0" presId="urn:microsoft.com/office/officeart/2005/8/layout/orgChart1"/>
    <dgm:cxn modelId="{12012379-7779-4968-8C25-0CFE9DC4073B}" type="presOf" srcId="{49742260-F14F-4BCB-8D88-ADD2EB5024EC}" destId="{FA7ED8CE-14CF-4D38-BE63-D19E93618025}" srcOrd="1" destOrd="0" presId="urn:microsoft.com/office/officeart/2005/8/layout/orgChart1"/>
    <dgm:cxn modelId="{0E973180-C2C5-4F50-A708-EC6162F6661A}" type="presOf" srcId="{CFEBB133-5D80-4E9D-815E-BA7E2B5804D2}" destId="{F55C39B9-C17D-4782-B68D-D9F73AAEE095}" srcOrd="1" destOrd="0" presId="urn:microsoft.com/office/officeart/2005/8/layout/orgChart1"/>
    <dgm:cxn modelId="{712858AF-18F5-47D6-8C63-F0466FC65015}" type="presOf" srcId="{A26E1133-27F8-42A1-91FE-23383B9ACC99}" destId="{E9F5810C-05C5-4937-8779-609DD6BD5CFD}" srcOrd="0" destOrd="0" presId="urn:microsoft.com/office/officeart/2005/8/layout/orgChart1"/>
    <dgm:cxn modelId="{EE16A7D3-AC42-4BCB-A823-DF203BC768BA}" type="presOf" srcId="{645C00E4-762B-4277-AD48-4328B4AF7430}" destId="{981682D2-6375-4500-994F-C7CC83594561}" srcOrd="0" destOrd="0" presId="urn:microsoft.com/office/officeart/2005/8/layout/orgChart1"/>
    <dgm:cxn modelId="{0D252A7C-EA88-478B-9AB7-96B65AE1E68A}" srcId="{43BDC9E6-B3ED-4E11-B81F-A36F96CA06AD}" destId="{1CE2D78B-C788-472A-8424-7F9A4AB5205E}" srcOrd="2" destOrd="0" parTransId="{6ED4E1AA-EFDD-4E70-836E-3DB36084DE98}" sibTransId="{1D0F051B-C9A8-457A-BE08-985EF4C28172}"/>
    <dgm:cxn modelId="{482DB792-4616-4429-8146-834A4E403FCA}" srcId="{C35FC96E-9015-4790-BDC3-6E0D4D502FCB}" destId="{AFCA2418-8D6B-4E9C-BE52-FC74C908050F}" srcOrd="0" destOrd="0" parTransId="{4E25AF54-5C18-4905-8913-7D1EA2AC6905}" sibTransId="{2863A287-FD1D-46AB-958E-D6DB7D840902}"/>
    <dgm:cxn modelId="{AF611182-AAE8-4190-BE35-A2473E50306B}" srcId="{C35FC96E-9015-4790-BDC3-6E0D4D502FCB}" destId="{C6E107C8-C87F-4E03-9C51-3B0FC309122B}" srcOrd="1" destOrd="0" parTransId="{645C00E4-762B-4277-AD48-4328B4AF7430}" sibTransId="{E622C44F-BC5B-49E7-9D58-720E5F6040E1}"/>
    <dgm:cxn modelId="{36EECD92-C8F8-4B69-9518-63F8DD55471D}" type="presOf" srcId="{3EEFE082-C4FA-499A-BA01-E4B8217A4B73}" destId="{A3BC68A0-CABF-4126-884C-C90818E1E26E}" srcOrd="0" destOrd="0" presId="urn:microsoft.com/office/officeart/2005/8/layout/orgChart1"/>
    <dgm:cxn modelId="{63CB9A3B-B749-4E73-B165-CF874ED04CD6}" type="presOf" srcId="{0B5A8C4E-0287-4775-89CD-4F33BAC9506F}" destId="{E8D3E92A-0794-4DFF-ADF5-83A9F9869BDA}" srcOrd="0" destOrd="0" presId="urn:microsoft.com/office/officeart/2005/8/layout/orgChart1"/>
    <dgm:cxn modelId="{70CE656A-EA0D-40FA-BB9E-C74B967FC599}" type="presOf" srcId="{43BDC9E6-B3ED-4E11-B81F-A36F96CA06AD}" destId="{6EF86BC6-06CE-4768-9942-F4420543D5EE}" srcOrd="1" destOrd="0" presId="urn:microsoft.com/office/officeart/2005/8/layout/orgChart1"/>
    <dgm:cxn modelId="{BF0DC91D-EC32-48A1-86C8-FAB69550103E}" srcId="{843E3B21-DC9F-4CF8-A7F1-93BF704E47A7}" destId="{0B5A8C4E-0287-4775-89CD-4F33BAC9506F}" srcOrd="3" destOrd="0" parTransId="{EF032B47-594B-4FE2-82AA-11F85DCB3B05}" sibTransId="{54EDCA25-2AA2-4C65-8635-EE0E2A7EF78B}"/>
    <dgm:cxn modelId="{8006DEB9-2E7E-4467-B156-1FBA0E384919}" type="presOf" srcId="{843E3B21-DC9F-4CF8-A7F1-93BF704E47A7}" destId="{5E5C4910-D5C2-4117-9825-0F4E2308A1D4}" srcOrd="0" destOrd="0" presId="urn:microsoft.com/office/officeart/2005/8/layout/orgChart1"/>
    <dgm:cxn modelId="{9E22CDE8-D43C-4ABC-AFF2-365EC38F0914}" type="presOf" srcId="{14236E25-24F5-4DBC-8E23-FED5A30DEF0E}" destId="{A2B3E9C0-0CE1-4B88-9E71-F7CE1A7F99D7}" srcOrd="0" destOrd="0" presId="urn:microsoft.com/office/officeart/2005/8/layout/orgChart1"/>
    <dgm:cxn modelId="{7050F491-BD27-41F1-89C1-C1CDDE212FF8}" type="presOf" srcId="{359E2506-5D19-4F9C-8688-C666576175A9}" destId="{50C84909-550F-4BDC-8966-B86E5E1786AE}" srcOrd="0" destOrd="0" presId="urn:microsoft.com/office/officeart/2005/8/layout/orgChart1"/>
    <dgm:cxn modelId="{E818712F-3B31-4A84-8BEB-2FB9DD629B1D}" type="presOf" srcId="{90833815-F732-45AF-B735-7A208BE16A8A}" destId="{5D0F02D1-4A23-4B53-AF4F-3529BE69829E}" srcOrd="0" destOrd="0" presId="urn:microsoft.com/office/officeart/2005/8/layout/orgChart1"/>
    <dgm:cxn modelId="{D04F767B-71FA-4669-9866-0C574B1E3AC9}" type="presOf" srcId="{A240A1E1-162D-4A6E-A806-B6FF45B3AB68}" destId="{20C564F4-BF5C-4321-B86B-65391CEDEFC7}" srcOrd="1" destOrd="0" presId="urn:microsoft.com/office/officeart/2005/8/layout/orgChart1"/>
    <dgm:cxn modelId="{4744ADE3-D0BE-4515-A829-8EEA4D59D5D2}" type="presOf" srcId="{720AE7B9-47AD-4FF9-8447-DF1B8C5FD193}" destId="{1D0BA542-EABF-46D4-A11D-8954A50A4A27}" srcOrd="1" destOrd="0" presId="urn:microsoft.com/office/officeart/2005/8/layout/orgChart1"/>
    <dgm:cxn modelId="{6E2E3B55-A6EB-46D7-B7D0-04629FD4C800}" srcId="{843E3B21-DC9F-4CF8-A7F1-93BF704E47A7}" destId="{9B931718-FC68-4B2E-9854-492BCFE6FE83}" srcOrd="2" destOrd="0" parTransId="{359E2506-5D19-4F9C-8688-C666576175A9}" sibTransId="{3113A228-1208-4305-91A0-AEEDFF54B5B2}"/>
    <dgm:cxn modelId="{50F46080-C43E-4B45-BE31-A7AAE00E90CF}" type="presOf" srcId="{9B931718-FC68-4B2E-9854-492BCFE6FE83}" destId="{984A4F3B-0A00-4E5A-9092-1922B8A7FAB3}" srcOrd="0" destOrd="0" presId="urn:microsoft.com/office/officeart/2005/8/layout/orgChart1"/>
    <dgm:cxn modelId="{57555213-388B-4F70-9D33-972F36E8BB70}" type="presOf" srcId="{843E3B21-DC9F-4CF8-A7F1-93BF704E47A7}" destId="{AB22B6A5-BFAD-4E5F-BED0-C002FA69FEEF}" srcOrd="1" destOrd="0" presId="urn:microsoft.com/office/officeart/2005/8/layout/orgChart1"/>
    <dgm:cxn modelId="{B8D8F487-BE9F-46B4-B488-831FE917437A}" type="presOf" srcId="{28774598-E592-4921-B255-0225EB6D096E}" destId="{AD70828E-DDD4-480C-BDFF-1E596F6615D1}" srcOrd="0" destOrd="0" presId="urn:microsoft.com/office/officeart/2005/8/layout/orgChart1"/>
    <dgm:cxn modelId="{161DE75F-C438-4684-AA61-0549AAFC22EE}" type="presOf" srcId="{0216D3CF-84E5-4443-8082-6C6C297E9A4D}" destId="{CBCDE87F-FA6C-44B8-A9C2-1E747BE7F736}" srcOrd="0" destOrd="0" presId="urn:microsoft.com/office/officeart/2005/8/layout/orgChart1"/>
    <dgm:cxn modelId="{E0214194-62C9-44C4-AE01-F75818AB0B23}" type="presOf" srcId="{AFCA2418-8D6B-4E9C-BE52-FC74C908050F}" destId="{1B4F947A-69EB-46FF-A1EA-7664283D213E}" srcOrd="0" destOrd="0" presId="urn:microsoft.com/office/officeart/2005/8/layout/orgChart1"/>
    <dgm:cxn modelId="{A55BB99B-84BC-418B-B68E-A443A7A9DD25}" type="presOf" srcId="{65D088B7-B36E-49AA-84B9-2BC51B326EA1}" destId="{96956835-3386-449C-A89B-65F7C680246D}" srcOrd="0" destOrd="0" presId="urn:microsoft.com/office/officeart/2005/8/layout/orgChart1"/>
    <dgm:cxn modelId="{249C2A17-E3AC-4B65-9AC0-D8B4E072AA40}" type="presOf" srcId="{43BDC9E6-B3ED-4E11-B81F-A36F96CA06AD}" destId="{1AD90FEA-3135-49C2-A3C0-CFEDDC6405B3}" srcOrd="0" destOrd="0" presId="urn:microsoft.com/office/officeart/2005/8/layout/orgChart1"/>
    <dgm:cxn modelId="{5AC3A373-8394-4067-A244-20004FD2E1EB}" type="presOf" srcId="{C6E107C8-C87F-4E03-9C51-3B0FC309122B}" destId="{BB23809A-293F-4A54-B283-6C2D984F118D}" srcOrd="1" destOrd="0" presId="urn:microsoft.com/office/officeart/2005/8/layout/orgChart1"/>
    <dgm:cxn modelId="{8BDD8119-8184-4492-857D-762957F8B7B4}" type="presOf" srcId="{52015A54-073D-4B92-8FF1-0F1F5FE1561A}" destId="{BD1C35E1-9751-4DD4-B9AF-1CFE8C8B4E70}" srcOrd="0" destOrd="0" presId="urn:microsoft.com/office/officeart/2005/8/layout/orgChart1"/>
    <dgm:cxn modelId="{55033EC1-9E5A-4809-ADA3-1D48EDAEAD2B}" type="presOf" srcId="{C35FC96E-9015-4790-BDC3-6E0D4D502FCB}" destId="{67A44139-B3F0-4118-89E8-A44A0D503C36}" srcOrd="0" destOrd="0" presId="urn:microsoft.com/office/officeart/2005/8/layout/orgChart1"/>
    <dgm:cxn modelId="{72A19DB5-FC49-4352-A4A5-D2CF6AD2AD8F}" type="presOf" srcId="{6ED4E1AA-EFDD-4E70-836E-3DB36084DE98}" destId="{C137CAE9-66E1-459B-A733-9B53B02E07AF}" srcOrd="0" destOrd="0" presId="urn:microsoft.com/office/officeart/2005/8/layout/orgChart1"/>
    <dgm:cxn modelId="{6480FCEA-3349-4A4B-B1F3-00581E1A44E3}" type="presOf" srcId="{453F9760-1876-428B-8CB6-DA8F60516D89}" destId="{1D4D3FE4-1739-4B3C-ACD2-597D18FBC50F}" srcOrd="0" destOrd="0" presId="urn:microsoft.com/office/officeart/2005/8/layout/orgChart1"/>
    <dgm:cxn modelId="{2648CEB6-4DB9-42A6-B700-4831395E15AC}" srcId="{843E3B21-DC9F-4CF8-A7F1-93BF704E47A7}" destId="{7D7C3FA2-CE75-4B7D-A218-416906B8D917}" srcOrd="1" destOrd="0" parTransId="{14236E25-24F5-4DBC-8E23-FED5A30DEF0E}" sibTransId="{FB40D391-DB77-4C2C-BDCE-7A207CEAE6FE}"/>
    <dgm:cxn modelId="{1BC85FCA-3D46-425C-8FEC-D3DA01406FC0}" type="presOf" srcId="{54165FB5-F7A3-4BBF-B199-2BE2BA410DE8}" destId="{B562ECC0-9994-4B01-9E77-D5C13C496118}" srcOrd="0" destOrd="0" presId="urn:microsoft.com/office/officeart/2005/8/layout/orgChart1"/>
    <dgm:cxn modelId="{08DCFB0D-2474-4F38-99CF-E1AEB1C102EB}" type="presOf" srcId="{B8FD3D24-FF5C-481A-BFA0-ACCFF5DDB239}" destId="{6240857E-8E92-4FD3-BB54-32F6C167CD09}" srcOrd="0" destOrd="0" presId="urn:microsoft.com/office/officeart/2005/8/layout/orgChart1"/>
    <dgm:cxn modelId="{487CBAA4-A8D5-4313-AE09-EF3672ABC8F5}" type="presOf" srcId="{A60BCA66-49BB-4275-9110-8B471B3FC59B}" destId="{28E82B1A-B1F2-4CC5-9B64-B60015CBF624}" srcOrd="0" destOrd="0" presId="urn:microsoft.com/office/officeart/2005/8/layout/orgChart1"/>
    <dgm:cxn modelId="{3BC3C7F6-F091-45ED-8925-90DE688F8140}" type="presOf" srcId="{6C5C9B86-7AAA-465B-98FF-E3F38189A3AE}" destId="{3A94D9E8-C2A3-4765-9477-D710CC646957}" srcOrd="0" destOrd="0" presId="urn:microsoft.com/office/officeart/2005/8/layout/orgChart1"/>
    <dgm:cxn modelId="{5CECF50B-CB11-4353-89F8-D0B944B9921F}" type="presOf" srcId="{62301F5E-BDD5-4369-B9CF-5999FECA1C85}" destId="{FE10A4AF-D8A8-4F2D-9661-56E5DBB5B2C5}" srcOrd="0" destOrd="0" presId="urn:microsoft.com/office/officeart/2005/8/layout/orgChart1"/>
    <dgm:cxn modelId="{B2267696-0D48-40E5-A708-1BF529427752}" type="presOf" srcId="{C3334397-F4C9-43FD-9DE7-786437A51BF8}" destId="{CC07306D-4BD7-4477-BB61-A954489058D6}" srcOrd="0" destOrd="0" presId="urn:microsoft.com/office/officeart/2005/8/layout/orgChart1"/>
    <dgm:cxn modelId="{03740983-976A-45C2-9FCE-C11CB9E6C814}" type="presOf" srcId="{7D7C3FA2-CE75-4B7D-A218-416906B8D917}" destId="{A77E27D0-EFD7-495B-9E1A-5A5371B8AB84}" srcOrd="0" destOrd="0" presId="urn:microsoft.com/office/officeart/2005/8/layout/orgChart1"/>
    <dgm:cxn modelId="{06E71150-3811-4FC5-8858-0203DD6C998E}" srcId="{E420C67E-C4C2-476B-9B47-FFB47D587009}" destId="{2F6572D1-3E4E-41CC-B816-15F6AA753750}" srcOrd="2" destOrd="0" parTransId="{453F9760-1876-428B-8CB6-DA8F60516D89}" sibTransId="{F36BC338-6ADD-4D27-8F50-A2943AF092AF}"/>
    <dgm:cxn modelId="{C1CE8928-32BE-4B29-94EC-84C2922CDB3E}" type="presOf" srcId="{0B5A8C4E-0287-4775-89CD-4F33BAC9506F}" destId="{E4F391C2-584B-4F01-9A6E-BB77AA2A997A}" srcOrd="1" destOrd="0" presId="urn:microsoft.com/office/officeart/2005/8/layout/orgChart1"/>
    <dgm:cxn modelId="{D81E209A-A3F7-4C9C-8C9D-1C4A5D29416D}" type="presOf" srcId="{1CE2D78B-C788-472A-8424-7F9A4AB5205E}" destId="{A5F2589C-C16C-45F2-9A3D-F2A6CB2476D1}" srcOrd="0" destOrd="0" presId="urn:microsoft.com/office/officeart/2005/8/layout/orgChart1"/>
    <dgm:cxn modelId="{2AC6A1A2-FDAF-4C07-BF93-78DC05214544}" srcId="{43BDC9E6-B3ED-4E11-B81F-A36F96CA06AD}" destId="{E420C67E-C4C2-476B-9B47-FFB47D587009}" srcOrd="1" destOrd="0" parTransId="{65D088B7-B36E-49AA-84B9-2BC51B326EA1}" sibTransId="{7CC715FB-928E-4CFE-A8F5-045F16B2D743}"/>
    <dgm:cxn modelId="{623BA8D4-8AC8-4EEC-BABF-748D942FDA2D}" type="presOf" srcId="{720AE7B9-47AD-4FF9-8447-DF1B8C5FD193}" destId="{1064D61A-5C37-497D-A6F5-6312AB6E3F5A}" srcOrd="0" destOrd="0" presId="urn:microsoft.com/office/officeart/2005/8/layout/orgChart1"/>
    <dgm:cxn modelId="{AE4DEB7B-308C-48FE-B7C7-2C2325EF9BB0}" type="presOf" srcId="{4E25AF54-5C18-4905-8913-7D1EA2AC6905}" destId="{2BC6CEE4-3F67-4FA6-8639-65EC4CCFF4D9}" srcOrd="0" destOrd="0" presId="urn:microsoft.com/office/officeart/2005/8/layout/orgChart1"/>
    <dgm:cxn modelId="{7E8A394C-0B32-41E9-BC7B-038412EB61D4}" srcId="{E420C67E-C4C2-476B-9B47-FFB47D587009}" destId="{CFEBB133-5D80-4E9D-815E-BA7E2B5804D2}" srcOrd="3" destOrd="0" parTransId="{6C5C9B86-7AAA-465B-98FF-E3F38189A3AE}" sibTransId="{7FDECB7D-540F-4AC8-A911-0EDE43878630}"/>
    <dgm:cxn modelId="{DB925F6A-7761-4D5E-84C9-D63652FE2570}" srcId="{C6E107C8-C87F-4E03-9C51-3B0FC309122B}" destId="{09967023-FD4B-4E34-A1C9-A393B75E32BA}" srcOrd="0" destOrd="0" parTransId="{28774598-E592-4921-B255-0225EB6D096E}" sibTransId="{0B7B4A03-7BEB-45DD-A62C-7505C5BC4A5B}"/>
    <dgm:cxn modelId="{47881776-B116-4BA5-8361-A4011929B158}" type="presOf" srcId="{EF032B47-594B-4FE2-82AA-11F85DCB3B05}" destId="{6262AD45-37CE-4E4E-81E1-98A75BFFED33}" srcOrd="0" destOrd="0" presId="urn:microsoft.com/office/officeart/2005/8/layout/orgChart1"/>
    <dgm:cxn modelId="{DF5E07B9-82AB-4759-AF9F-52C86A708355}" type="presOf" srcId="{2F6572D1-3E4E-41CC-B816-15F6AA753750}" destId="{C3C99CCA-0A47-4420-ABC8-53654C0C3796}" srcOrd="1" destOrd="0" presId="urn:microsoft.com/office/officeart/2005/8/layout/orgChart1"/>
    <dgm:cxn modelId="{B2A40A5B-3AFA-49C8-B2DF-8B253968EF2C}" type="presOf" srcId="{AFCA2418-8D6B-4E9C-BE52-FC74C908050F}" destId="{C553D0C6-AEE4-4F65-8DAC-62449D94D6A7}" srcOrd="1" destOrd="0" presId="urn:microsoft.com/office/officeart/2005/8/layout/orgChart1"/>
    <dgm:cxn modelId="{F0C0AED6-3BFB-430A-84C4-C1842ECA49F1}" srcId="{1CE2D78B-C788-472A-8424-7F9A4AB5205E}" destId="{35016019-1F0E-47A9-A9CB-AE98C0AFCFC1}" srcOrd="1" destOrd="0" parTransId="{A60BCA66-49BB-4275-9110-8B471B3FC59B}" sibTransId="{549EC933-326F-43C6-A4AD-B0C6604A5CF9}"/>
    <dgm:cxn modelId="{CCB5AE26-70F4-4C5B-B53D-136E39A12AC5}" srcId="{1CE2D78B-C788-472A-8424-7F9A4AB5205E}" destId="{A240A1E1-162D-4A6E-A806-B6FF45B3AB68}" srcOrd="0" destOrd="0" parTransId="{F0BD47AB-7AC9-40A2-A96D-1A911EFDE7FF}" sibTransId="{A12D77FB-8453-4F78-A007-65AD68966259}"/>
    <dgm:cxn modelId="{3C110BFF-FD87-473E-9985-0D9D761E60BD}" srcId="{43BDC9E6-B3ED-4E11-B81F-A36F96CA06AD}" destId="{843E3B21-DC9F-4CF8-A7F1-93BF704E47A7}" srcOrd="0" destOrd="0" parTransId="{3EEFE082-C4FA-499A-BA01-E4B8217A4B73}" sibTransId="{2992CB8F-FBF4-486F-BE86-7AEC96D28238}"/>
    <dgm:cxn modelId="{A34A13CC-D857-4FA9-BB84-A24FBE37CE06}" type="presOf" srcId="{E420C67E-C4C2-476B-9B47-FFB47D587009}" destId="{45256018-C335-4CDB-9EC5-7AE2ABAC1E00}" srcOrd="1" destOrd="0" presId="urn:microsoft.com/office/officeart/2005/8/layout/orgChart1"/>
    <dgm:cxn modelId="{7DC904A4-8DBD-48F3-BECC-2C6156035D45}" type="presOf" srcId="{1CE2D78B-C788-472A-8424-7F9A4AB5205E}" destId="{6D7B6648-0B7F-4E1F-B6C5-CE0E2F04B9FF}" srcOrd="1" destOrd="0" presId="urn:microsoft.com/office/officeart/2005/8/layout/orgChart1"/>
    <dgm:cxn modelId="{4E25E574-3F0E-4231-A0DB-1E0AD5ACB26D}" type="presOf" srcId="{49742260-F14F-4BCB-8D88-ADD2EB5024EC}" destId="{93507A0E-B606-4F7A-9C01-283769128FF2}" srcOrd="0" destOrd="0" presId="urn:microsoft.com/office/officeart/2005/8/layout/orgChart1"/>
    <dgm:cxn modelId="{FBABCE28-C2DE-463A-AF43-A25FA164F79F}" type="presOf" srcId="{CFEBB133-5D80-4E9D-815E-BA7E2B5804D2}" destId="{50D60845-A14B-4DD0-8DB4-8B07FEB31A21}" srcOrd="0" destOrd="0" presId="urn:microsoft.com/office/officeart/2005/8/layout/orgChart1"/>
    <dgm:cxn modelId="{9F3CD0AE-29F8-4330-92A8-760FA14B44F5}" type="presParOf" srcId="{E9F5810C-05C5-4937-8779-609DD6BD5CFD}" destId="{25A00B3E-FEA8-439F-999E-8DB6BC95DBC0}" srcOrd="0" destOrd="0" presId="urn:microsoft.com/office/officeart/2005/8/layout/orgChart1"/>
    <dgm:cxn modelId="{AD8A559C-BB77-4780-924F-4A624837E5D9}" type="presParOf" srcId="{25A00B3E-FEA8-439F-999E-8DB6BC95DBC0}" destId="{305CB9B7-E4C6-453D-AC39-1DA3FA25C576}" srcOrd="0" destOrd="0" presId="urn:microsoft.com/office/officeart/2005/8/layout/orgChart1"/>
    <dgm:cxn modelId="{B7757265-DE01-41BA-9791-A1DD7AF0D5AF}" type="presParOf" srcId="{305CB9B7-E4C6-453D-AC39-1DA3FA25C576}" destId="{1AD90FEA-3135-49C2-A3C0-CFEDDC6405B3}" srcOrd="0" destOrd="0" presId="urn:microsoft.com/office/officeart/2005/8/layout/orgChart1"/>
    <dgm:cxn modelId="{C5F8167B-5F34-4AAF-BEE7-214C52CB1895}" type="presParOf" srcId="{305CB9B7-E4C6-453D-AC39-1DA3FA25C576}" destId="{6EF86BC6-06CE-4768-9942-F4420543D5EE}" srcOrd="1" destOrd="0" presId="urn:microsoft.com/office/officeart/2005/8/layout/orgChart1"/>
    <dgm:cxn modelId="{9EE0571D-A674-45D6-8E5D-B2BC1F53A211}" type="presParOf" srcId="{25A00B3E-FEA8-439F-999E-8DB6BC95DBC0}" destId="{EC72B6B4-B63E-4FE2-8CC2-5FA221770366}" srcOrd="1" destOrd="0" presId="urn:microsoft.com/office/officeart/2005/8/layout/orgChart1"/>
    <dgm:cxn modelId="{04F65017-C237-42C5-9ABF-B64DAA526F7C}" type="presParOf" srcId="{EC72B6B4-B63E-4FE2-8CC2-5FA221770366}" destId="{A3BC68A0-CABF-4126-884C-C90818E1E26E}" srcOrd="0" destOrd="0" presId="urn:microsoft.com/office/officeart/2005/8/layout/orgChart1"/>
    <dgm:cxn modelId="{42B2BE20-2AC7-46A1-A78F-67952C451BCD}" type="presParOf" srcId="{EC72B6B4-B63E-4FE2-8CC2-5FA221770366}" destId="{9B84C5AA-6259-445A-8F7A-6D366FCBB4AD}" srcOrd="1" destOrd="0" presId="urn:microsoft.com/office/officeart/2005/8/layout/orgChart1"/>
    <dgm:cxn modelId="{444D64BE-916A-4D94-9C4A-6AF101AB6CC3}" type="presParOf" srcId="{9B84C5AA-6259-445A-8F7A-6D366FCBB4AD}" destId="{F324FB99-E565-440D-9319-A2867DA87756}" srcOrd="0" destOrd="0" presId="urn:microsoft.com/office/officeart/2005/8/layout/orgChart1"/>
    <dgm:cxn modelId="{2DC8A3F5-02E9-463F-A4AC-48770E76C38F}" type="presParOf" srcId="{F324FB99-E565-440D-9319-A2867DA87756}" destId="{5E5C4910-D5C2-4117-9825-0F4E2308A1D4}" srcOrd="0" destOrd="0" presId="urn:microsoft.com/office/officeart/2005/8/layout/orgChart1"/>
    <dgm:cxn modelId="{FDABBB23-595C-4282-8886-B47978E6DD3D}" type="presParOf" srcId="{F324FB99-E565-440D-9319-A2867DA87756}" destId="{AB22B6A5-BFAD-4E5F-BED0-C002FA69FEEF}" srcOrd="1" destOrd="0" presId="urn:microsoft.com/office/officeart/2005/8/layout/orgChart1"/>
    <dgm:cxn modelId="{81F4B3BD-7A60-4BFB-B49E-B5130BF1B536}" type="presParOf" srcId="{9B84C5AA-6259-445A-8F7A-6D366FCBB4AD}" destId="{16186025-4BC6-46E2-97F6-F9084F02632D}" srcOrd="1" destOrd="0" presId="urn:microsoft.com/office/officeart/2005/8/layout/orgChart1"/>
    <dgm:cxn modelId="{2EB940F2-16EA-4EFE-AF69-3A67B0C0705D}" type="presParOf" srcId="{16186025-4BC6-46E2-97F6-F9084F02632D}" destId="{A83ED5F7-10A0-45C9-B814-5804FA76917E}" srcOrd="0" destOrd="0" presId="urn:microsoft.com/office/officeart/2005/8/layout/orgChart1"/>
    <dgm:cxn modelId="{AE5862B2-444F-4323-B31C-4A616469CFF2}" type="presParOf" srcId="{16186025-4BC6-46E2-97F6-F9084F02632D}" destId="{D44CFE56-6231-4D51-BDF4-F9842887D455}" srcOrd="1" destOrd="0" presId="urn:microsoft.com/office/officeart/2005/8/layout/orgChart1"/>
    <dgm:cxn modelId="{44B663D9-D260-47B2-B2CE-F0A6A23FF046}" type="presParOf" srcId="{D44CFE56-6231-4D51-BDF4-F9842887D455}" destId="{F340CB26-8421-44AC-9592-9BB7E87D96B8}" srcOrd="0" destOrd="0" presId="urn:microsoft.com/office/officeart/2005/8/layout/orgChart1"/>
    <dgm:cxn modelId="{750D1A27-B3D2-4AB1-81D8-3B1919EF2C69}" type="presParOf" srcId="{F340CB26-8421-44AC-9592-9BB7E87D96B8}" destId="{1064D61A-5C37-497D-A6F5-6312AB6E3F5A}" srcOrd="0" destOrd="0" presId="urn:microsoft.com/office/officeart/2005/8/layout/orgChart1"/>
    <dgm:cxn modelId="{078AD42E-1489-4E89-BDFB-4F690B615103}" type="presParOf" srcId="{F340CB26-8421-44AC-9592-9BB7E87D96B8}" destId="{1D0BA542-EABF-46D4-A11D-8954A50A4A27}" srcOrd="1" destOrd="0" presId="urn:microsoft.com/office/officeart/2005/8/layout/orgChart1"/>
    <dgm:cxn modelId="{FC5A2E81-3CC0-40F1-8F4B-065C8C72AFDA}" type="presParOf" srcId="{D44CFE56-6231-4D51-BDF4-F9842887D455}" destId="{CB5479DD-BB83-4A7F-A8FE-0204BBEBDE57}" srcOrd="1" destOrd="0" presId="urn:microsoft.com/office/officeart/2005/8/layout/orgChart1"/>
    <dgm:cxn modelId="{F74578B8-EE39-4785-8204-8F957799B835}" type="presParOf" srcId="{D44CFE56-6231-4D51-BDF4-F9842887D455}" destId="{72F3B94E-5E2C-4DF9-BCD5-3D635951032C}" srcOrd="2" destOrd="0" presId="urn:microsoft.com/office/officeart/2005/8/layout/orgChart1"/>
    <dgm:cxn modelId="{AF1310AF-928F-4C0C-9B92-C0762ABDD5A6}" type="presParOf" srcId="{16186025-4BC6-46E2-97F6-F9084F02632D}" destId="{A2B3E9C0-0CE1-4B88-9E71-F7CE1A7F99D7}" srcOrd="2" destOrd="0" presId="urn:microsoft.com/office/officeart/2005/8/layout/orgChart1"/>
    <dgm:cxn modelId="{9403DF57-A666-46D8-A571-0AE118E7D560}" type="presParOf" srcId="{16186025-4BC6-46E2-97F6-F9084F02632D}" destId="{16797127-63BB-4E8C-8005-5E72B3FF9B3C}" srcOrd="3" destOrd="0" presId="urn:microsoft.com/office/officeart/2005/8/layout/orgChart1"/>
    <dgm:cxn modelId="{AE7A3664-F20E-4825-ACF2-24BBCF4261EE}" type="presParOf" srcId="{16797127-63BB-4E8C-8005-5E72B3FF9B3C}" destId="{4DFEF789-40AF-4966-81EA-F7C1CBE52773}" srcOrd="0" destOrd="0" presId="urn:microsoft.com/office/officeart/2005/8/layout/orgChart1"/>
    <dgm:cxn modelId="{E55DA57D-57F9-4660-BF98-9AB1F0F395A1}" type="presParOf" srcId="{4DFEF789-40AF-4966-81EA-F7C1CBE52773}" destId="{A77E27D0-EFD7-495B-9E1A-5A5371B8AB84}" srcOrd="0" destOrd="0" presId="urn:microsoft.com/office/officeart/2005/8/layout/orgChart1"/>
    <dgm:cxn modelId="{BDE67901-F7FB-4DBC-A9C0-B5C0A4DA9ED1}" type="presParOf" srcId="{4DFEF789-40AF-4966-81EA-F7C1CBE52773}" destId="{63F8734B-291F-4EE9-8AEC-5D7130065FE8}" srcOrd="1" destOrd="0" presId="urn:microsoft.com/office/officeart/2005/8/layout/orgChart1"/>
    <dgm:cxn modelId="{4CB069FB-A178-4783-A646-8604F6321009}" type="presParOf" srcId="{16797127-63BB-4E8C-8005-5E72B3FF9B3C}" destId="{F1241E53-1837-4666-9A60-B6AD42958195}" srcOrd="1" destOrd="0" presId="urn:microsoft.com/office/officeart/2005/8/layout/orgChart1"/>
    <dgm:cxn modelId="{08A65351-6EEA-4321-8B93-B14DEC2FEF46}" type="presParOf" srcId="{16797127-63BB-4E8C-8005-5E72B3FF9B3C}" destId="{E1079AD2-0C8E-44F0-9596-6D504E6161CE}" srcOrd="2" destOrd="0" presId="urn:microsoft.com/office/officeart/2005/8/layout/orgChart1"/>
    <dgm:cxn modelId="{882B511B-CD41-46B6-BFEB-330FA1D8DF26}" type="presParOf" srcId="{16186025-4BC6-46E2-97F6-F9084F02632D}" destId="{50C84909-550F-4BDC-8966-B86E5E1786AE}" srcOrd="4" destOrd="0" presId="urn:microsoft.com/office/officeart/2005/8/layout/orgChart1"/>
    <dgm:cxn modelId="{85EC572B-404B-4243-99E6-9FDA91CDADC4}" type="presParOf" srcId="{16186025-4BC6-46E2-97F6-F9084F02632D}" destId="{EBCAC25B-3E97-4708-AA7E-0D44E4C06B2C}" srcOrd="5" destOrd="0" presId="urn:microsoft.com/office/officeart/2005/8/layout/orgChart1"/>
    <dgm:cxn modelId="{16840E1E-E775-4458-BCE5-763ABA53B8B1}" type="presParOf" srcId="{EBCAC25B-3E97-4708-AA7E-0D44E4C06B2C}" destId="{56A22D43-7DD1-46E6-B06A-D1D662EE6DAD}" srcOrd="0" destOrd="0" presId="urn:microsoft.com/office/officeart/2005/8/layout/orgChart1"/>
    <dgm:cxn modelId="{835235B2-6493-46AF-81FC-177B85F1A085}" type="presParOf" srcId="{56A22D43-7DD1-46E6-B06A-D1D662EE6DAD}" destId="{984A4F3B-0A00-4E5A-9092-1922B8A7FAB3}" srcOrd="0" destOrd="0" presId="urn:microsoft.com/office/officeart/2005/8/layout/orgChart1"/>
    <dgm:cxn modelId="{7EFE180E-3F45-4424-9405-617997AFF2B7}" type="presParOf" srcId="{56A22D43-7DD1-46E6-B06A-D1D662EE6DAD}" destId="{700B55C8-272E-490B-AB5F-A5C6369E8C79}" srcOrd="1" destOrd="0" presId="urn:microsoft.com/office/officeart/2005/8/layout/orgChart1"/>
    <dgm:cxn modelId="{4D3D8B2F-E5FA-418D-B856-8B6590251080}" type="presParOf" srcId="{EBCAC25B-3E97-4708-AA7E-0D44E4C06B2C}" destId="{18D6C1B6-F902-4ABE-BB60-086B907C1C3A}" srcOrd="1" destOrd="0" presId="urn:microsoft.com/office/officeart/2005/8/layout/orgChart1"/>
    <dgm:cxn modelId="{08419E45-78D4-42EC-9B0F-C034D6ABB79C}" type="presParOf" srcId="{EBCAC25B-3E97-4708-AA7E-0D44E4C06B2C}" destId="{4E3F742A-A2F5-4971-A026-90DA3CFE956C}" srcOrd="2" destOrd="0" presId="urn:microsoft.com/office/officeart/2005/8/layout/orgChart1"/>
    <dgm:cxn modelId="{32F270F0-B987-44BF-ABA4-D4EF9AC1E0B1}" type="presParOf" srcId="{16186025-4BC6-46E2-97F6-F9084F02632D}" destId="{6262AD45-37CE-4E4E-81E1-98A75BFFED33}" srcOrd="6" destOrd="0" presId="urn:microsoft.com/office/officeart/2005/8/layout/orgChart1"/>
    <dgm:cxn modelId="{065D05F3-E3B4-45AA-B2CA-33F312F4CFA6}" type="presParOf" srcId="{16186025-4BC6-46E2-97F6-F9084F02632D}" destId="{3BDA7C33-CC97-412E-A3EC-9F252E4F5A5A}" srcOrd="7" destOrd="0" presId="urn:microsoft.com/office/officeart/2005/8/layout/orgChart1"/>
    <dgm:cxn modelId="{17D540F6-198F-4573-92B4-40B4B86FB878}" type="presParOf" srcId="{3BDA7C33-CC97-412E-A3EC-9F252E4F5A5A}" destId="{2723E1CD-4CEE-4F07-87CD-20B12A8FC827}" srcOrd="0" destOrd="0" presId="urn:microsoft.com/office/officeart/2005/8/layout/orgChart1"/>
    <dgm:cxn modelId="{F39FDD4F-8438-4EE7-B440-414A71B0C5A3}" type="presParOf" srcId="{2723E1CD-4CEE-4F07-87CD-20B12A8FC827}" destId="{E8D3E92A-0794-4DFF-ADF5-83A9F9869BDA}" srcOrd="0" destOrd="0" presId="urn:microsoft.com/office/officeart/2005/8/layout/orgChart1"/>
    <dgm:cxn modelId="{3C6DB6AA-1B7A-46E5-A314-E138BF4D585D}" type="presParOf" srcId="{2723E1CD-4CEE-4F07-87CD-20B12A8FC827}" destId="{E4F391C2-584B-4F01-9A6E-BB77AA2A997A}" srcOrd="1" destOrd="0" presId="urn:microsoft.com/office/officeart/2005/8/layout/orgChart1"/>
    <dgm:cxn modelId="{6A719CD1-6E98-4F41-9087-AE0A464CB45B}" type="presParOf" srcId="{3BDA7C33-CC97-412E-A3EC-9F252E4F5A5A}" destId="{B2E11ABB-6C93-42E1-91A1-DB542954BA14}" srcOrd="1" destOrd="0" presId="urn:microsoft.com/office/officeart/2005/8/layout/orgChart1"/>
    <dgm:cxn modelId="{54D593DF-EAEE-4619-A95C-9C7AA1CB7548}" type="presParOf" srcId="{3BDA7C33-CC97-412E-A3EC-9F252E4F5A5A}" destId="{7916A290-6350-41CF-9D02-42ED9408F54E}" srcOrd="2" destOrd="0" presId="urn:microsoft.com/office/officeart/2005/8/layout/orgChart1"/>
    <dgm:cxn modelId="{F8C5EDE0-68BE-4D41-BDE2-FAF638E9BCA1}" type="presParOf" srcId="{9B84C5AA-6259-445A-8F7A-6D366FCBB4AD}" destId="{82355405-192E-42E7-B905-7A6FE845C6D9}" srcOrd="2" destOrd="0" presId="urn:microsoft.com/office/officeart/2005/8/layout/orgChart1"/>
    <dgm:cxn modelId="{4D4A37F4-1C52-403F-ACD3-E49A3F17BF20}" type="presParOf" srcId="{EC72B6B4-B63E-4FE2-8CC2-5FA221770366}" destId="{96956835-3386-449C-A89B-65F7C680246D}" srcOrd="2" destOrd="0" presId="urn:microsoft.com/office/officeart/2005/8/layout/orgChart1"/>
    <dgm:cxn modelId="{2D01198C-AB6C-4B38-BFFE-BB3433E3FD63}" type="presParOf" srcId="{EC72B6B4-B63E-4FE2-8CC2-5FA221770366}" destId="{DBD72DFC-EF80-4973-B6E5-D3C9AB052F9E}" srcOrd="3" destOrd="0" presId="urn:microsoft.com/office/officeart/2005/8/layout/orgChart1"/>
    <dgm:cxn modelId="{E862075E-F021-45FC-A024-894C1EC26FF2}" type="presParOf" srcId="{DBD72DFC-EF80-4973-B6E5-D3C9AB052F9E}" destId="{72B31F8C-4060-4D82-8D0A-8A332812C464}" srcOrd="0" destOrd="0" presId="urn:microsoft.com/office/officeart/2005/8/layout/orgChart1"/>
    <dgm:cxn modelId="{3231EC79-D987-48C1-B529-75A44FCF0CBF}" type="presParOf" srcId="{72B31F8C-4060-4D82-8D0A-8A332812C464}" destId="{F0ED6141-24DB-4164-A2D4-B51E750525CD}" srcOrd="0" destOrd="0" presId="urn:microsoft.com/office/officeart/2005/8/layout/orgChart1"/>
    <dgm:cxn modelId="{C287ECB6-F5E7-47BD-81DA-1556DCC585B6}" type="presParOf" srcId="{72B31F8C-4060-4D82-8D0A-8A332812C464}" destId="{45256018-C335-4CDB-9EC5-7AE2ABAC1E00}" srcOrd="1" destOrd="0" presId="urn:microsoft.com/office/officeart/2005/8/layout/orgChart1"/>
    <dgm:cxn modelId="{9AEA2DC5-6EBB-4CAD-8F11-A354149D484F}" type="presParOf" srcId="{DBD72DFC-EF80-4973-B6E5-D3C9AB052F9E}" destId="{2A7D3334-4741-4667-BCDB-1A78491B4FD4}" srcOrd="1" destOrd="0" presId="urn:microsoft.com/office/officeart/2005/8/layout/orgChart1"/>
    <dgm:cxn modelId="{7B9F850A-D923-4EF3-B6C3-30C2A2436C36}" type="presParOf" srcId="{2A7D3334-4741-4667-BCDB-1A78491B4FD4}" destId="{CC07306D-4BD7-4477-BB61-A954489058D6}" srcOrd="0" destOrd="0" presId="urn:microsoft.com/office/officeart/2005/8/layout/orgChart1"/>
    <dgm:cxn modelId="{218550A2-5395-41AB-92F2-5869D769D60B}" type="presParOf" srcId="{2A7D3334-4741-4667-BCDB-1A78491B4FD4}" destId="{0ECB6EE9-64D7-46FB-8A0A-B83CD370F0B4}" srcOrd="1" destOrd="0" presId="urn:microsoft.com/office/officeart/2005/8/layout/orgChart1"/>
    <dgm:cxn modelId="{46C861E7-C45C-408E-82F8-C52E090CE552}" type="presParOf" srcId="{0ECB6EE9-64D7-46FB-8A0A-B83CD370F0B4}" destId="{9D96850F-E3A0-4435-B942-5F48B18AC5F4}" srcOrd="0" destOrd="0" presId="urn:microsoft.com/office/officeart/2005/8/layout/orgChart1"/>
    <dgm:cxn modelId="{D54495B5-DAB1-451B-8306-875D9ECCFABE}" type="presParOf" srcId="{9D96850F-E3A0-4435-B942-5F48B18AC5F4}" destId="{CBCDE87F-FA6C-44B8-A9C2-1E747BE7F736}" srcOrd="0" destOrd="0" presId="urn:microsoft.com/office/officeart/2005/8/layout/orgChart1"/>
    <dgm:cxn modelId="{73C2E193-F349-4E0F-94B7-708BD35DB490}" type="presParOf" srcId="{9D96850F-E3A0-4435-B942-5F48B18AC5F4}" destId="{CF9F174C-7D69-49F6-A7FE-7ED9990EB82A}" srcOrd="1" destOrd="0" presId="urn:microsoft.com/office/officeart/2005/8/layout/orgChart1"/>
    <dgm:cxn modelId="{46F1D1AC-6FA7-4A2B-BA8D-319B44CE05C1}" type="presParOf" srcId="{0ECB6EE9-64D7-46FB-8A0A-B83CD370F0B4}" destId="{1934090D-CBAE-4AB8-9BE7-C9762145998D}" srcOrd="1" destOrd="0" presId="urn:microsoft.com/office/officeart/2005/8/layout/orgChart1"/>
    <dgm:cxn modelId="{81DC138D-3411-42F3-A123-7A13A3B8FED6}" type="presParOf" srcId="{0ECB6EE9-64D7-46FB-8A0A-B83CD370F0B4}" destId="{7BCCCAFF-8404-460B-9A5A-B8BF91057993}" srcOrd="2" destOrd="0" presId="urn:microsoft.com/office/officeart/2005/8/layout/orgChart1"/>
    <dgm:cxn modelId="{D91ABEDE-0027-466D-9D5B-D337D8462D00}" type="presParOf" srcId="{2A7D3334-4741-4667-BCDB-1A78491B4FD4}" destId="{FE10A4AF-D8A8-4F2D-9661-56E5DBB5B2C5}" srcOrd="2" destOrd="0" presId="urn:microsoft.com/office/officeart/2005/8/layout/orgChart1"/>
    <dgm:cxn modelId="{A83ED14D-44F8-4440-BC7A-9A9E697CE351}" type="presParOf" srcId="{2A7D3334-4741-4667-BCDB-1A78491B4FD4}" destId="{6E36B90A-357D-4409-934D-6F40EC568AE0}" srcOrd="3" destOrd="0" presId="urn:microsoft.com/office/officeart/2005/8/layout/orgChart1"/>
    <dgm:cxn modelId="{4E6666C9-FFD1-4F6B-AB38-646B9CB3B6C5}" type="presParOf" srcId="{6E36B90A-357D-4409-934D-6F40EC568AE0}" destId="{AB55976F-0A75-48BF-8621-9232364F260E}" srcOrd="0" destOrd="0" presId="urn:microsoft.com/office/officeart/2005/8/layout/orgChart1"/>
    <dgm:cxn modelId="{72829F06-D680-4AE7-A815-63E48CFAEF2C}" type="presParOf" srcId="{AB55976F-0A75-48BF-8621-9232364F260E}" destId="{5D0F02D1-4A23-4B53-AF4F-3529BE69829E}" srcOrd="0" destOrd="0" presId="urn:microsoft.com/office/officeart/2005/8/layout/orgChart1"/>
    <dgm:cxn modelId="{762860D9-38EB-4C37-B6FE-B426A8387BD6}" type="presParOf" srcId="{AB55976F-0A75-48BF-8621-9232364F260E}" destId="{8FF15CAA-9BF1-4437-B877-2B6831555847}" srcOrd="1" destOrd="0" presId="urn:microsoft.com/office/officeart/2005/8/layout/orgChart1"/>
    <dgm:cxn modelId="{F5847E66-538E-4EF2-8040-E74FA36725AF}" type="presParOf" srcId="{6E36B90A-357D-4409-934D-6F40EC568AE0}" destId="{8EE5665B-F21D-4DA6-A444-6C77DD3C6F95}" srcOrd="1" destOrd="0" presId="urn:microsoft.com/office/officeart/2005/8/layout/orgChart1"/>
    <dgm:cxn modelId="{83DCE86E-FC5F-4177-876A-F07585AF13E6}" type="presParOf" srcId="{6E36B90A-357D-4409-934D-6F40EC568AE0}" destId="{F1F43870-C4AC-4AF4-AB05-6A054FC06D63}" srcOrd="2" destOrd="0" presId="urn:microsoft.com/office/officeart/2005/8/layout/orgChart1"/>
    <dgm:cxn modelId="{249B8B57-6953-4D4C-B05E-D783700980FB}" type="presParOf" srcId="{2A7D3334-4741-4667-BCDB-1A78491B4FD4}" destId="{1D4D3FE4-1739-4B3C-ACD2-597D18FBC50F}" srcOrd="4" destOrd="0" presId="urn:microsoft.com/office/officeart/2005/8/layout/orgChart1"/>
    <dgm:cxn modelId="{677F2787-AB2B-4755-B2AC-FC83E03774F6}" type="presParOf" srcId="{2A7D3334-4741-4667-BCDB-1A78491B4FD4}" destId="{9115B6B6-EA79-4FE0-843B-D82CDE234246}" srcOrd="5" destOrd="0" presId="urn:microsoft.com/office/officeart/2005/8/layout/orgChart1"/>
    <dgm:cxn modelId="{163FA4BC-EC6C-49E0-BA2C-622D93383DF8}" type="presParOf" srcId="{9115B6B6-EA79-4FE0-843B-D82CDE234246}" destId="{B54B6D9A-0CB7-42FF-A0FD-F2137F2080D7}" srcOrd="0" destOrd="0" presId="urn:microsoft.com/office/officeart/2005/8/layout/orgChart1"/>
    <dgm:cxn modelId="{F7A590AE-C1F7-4530-AF20-EB0C56C055BC}" type="presParOf" srcId="{B54B6D9A-0CB7-42FF-A0FD-F2137F2080D7}" destId="{7BABB840-5689-4566-85C9-55C4A127C4C6}" srcOrd="0" destOrd="0" presId="urn:microsoft.com/office/officeart/2005/8/layout/orgChart1"/>
    <dgm:cxn modelId="{9D03444F-AA76-4274-9D26-794960C7DE58}" type="presParOf" srcId="{B54B6D9A-0CB7-42FF-A0FD-F2137F2080D7}" destId="{C3C99CCA-0A47-4420-ABC8-53654C0C3796}" srcOrd="1" destOrd="0" presId="urn:microsoft.com/office/officeart/2005/8/layout/orgChart1"/>
    <dgm:cxn modelId="{84551787-8110-432F-A5C5-D14A04F32470}" type="presParOf" srcId="{9115B6B6-EA79-4FE0-843B-D82CDE234246}" destId="{0D889D42-77FB-49A7-B6E8-3A8C670AFEAD}" srcOrd="1" destOrd="0" presId="urn:microsoft.com/office/officeart/2005/8/layout/orgChart1"/>
    <dgm:cxn modelId="{7B21A4C7-9720-4D0C-AE35-36D2A4F3B11F}" type="presParOf" srcId="{9115B6B6-EA79-4FE0-843B-D82CDE234246}" destId="{6BE4F57E-EC21-4523-B1EB-3AEDD24C4D44}" srcOrd="2" destOrd="0" presId="urn:microsoft.com/office/officeart/2005/8/layout/orgChart1"/>
    <dgm:cxn modelId="{8D92135F-ED32-4709-B3CB-4CE02AADB33B}" type="presParOf" srcId="{2A7D3334-4741-4667-BCDB-1A78491B4FD4}" destId="{3A94D9E8-C2A3-4765-9477-D710CC646957}" srcOrd="6" destOrd="0" presId="urn:microsoft.com/office/officeart/2005/8/layout/orgChart1"/>
    <dgm:cxn modelId="{FEA88EAF-1E65-4215-8009-189F00BBD945}" type="presParOf" srcId="{2A7D3334-4741-4667-BCDB-1A78491B4FD4}" destId="{2EAD44A1-134B-439B-87EC-257234921AE5}" srcOrd="7" destOrd="0" presId="urn:microsoft.com/office/officeart/2005/8/layout/orgChart1"/>
    <dgm:cxn modelId="{A39052DA-6B65-419E-889D-A3735BA05AC0}" type="presParOf" srcId="{2EAD44A1-134B-439B-87EC-257234921AE5}" destId="{2FB73BF3-3C5D-4AD3-9D1C-8A589100FCB7}" srcOrd="0" destOrd="0" presId="urn:microsoft.com/office/officeart/2005/8/layout/orgChart1"/>
    <dgm:cxn modelId="{C75F29DB-3F8E-478F-9527-3B766247351E}" type="presParOf" srcId="{2FB73BF3-3C5D-4AD3-9D1C-8A589100FCB7}" destId="{50D60845-A14B-4DD0-8DB4-8B07FEB31A21}" srcOrd="0" destOrd="0" presId="urn:microsoft.com/office/officeart/2005/8/layout/orgChart1"/>
    <dgm:cxn modelId="{34FDA7CB-73E2-4E67-B451-BEBE4DFFCFCA}" type="presParOf" srcId="{2FB73BF3-3C5D-4AD3-9D1C-8A589100FCB7}" destId="{F55C39B9-C17D-4782-B68D-D9F73AAEE095}" srcOrd="1" destOrd="0" presId="urn:microsoft.com/office/officeart/2005/8/layout/orgChart1"/>
    <dgm:cxn modelId="{1C5BEEF8-E934-478A-ADE7-2DAD302FB8BB}" type="presParOf" srcId="{2EAD44A1-134B-439B-87EC-257234921AE5}" destId="{FE161E8F-9C2C-4330-91D6-9E6A7C6F19FB}" srcOrd="1" destOrd="0" presId="urn:microsoft.com/office/officeart/2005/8/layout/orgChart1"/>
    <dgm:cxn modelId="{4D17FD7E-346A-4CCC-94A8-EB3BAEA02A46}" type="presParOf" srcId="{2EAD44A1-134B-439B-87EC-257234921AE5}" destId="{DCFA5C64-38E4-453B-BB1F-AE8ADB7F8B50}" srcOrd="2" destOrd="0" presId="urn:microsoft.com/office/officeart/2005/8/layout/orgChart1"/>
    <dgm:cxn modelId="{B03C298D-D5E5-4D3E-A9EF-18D9AFCABE60}" type="presParOf" srcId="{2A7D3334-4741-4667-BCDB-1A78491B4FD4}" destId="{6240857E-8E92-4FD3-BB54-32F6C167CD09}" srcOrd="8" destOrd="0" presId="urn:microsoft.com/office/officeart/2005/8/layout/orgChart1"/>
    <dgm:cxn modelId="{221626F3-44D7-4B97-9BD1-66FEDEE147EC}" type="presParOf" srcId="{2A7D3334-4741-4667-BCDB-1A78491B4FD4}" destId="{15B9C00A-6A73-4158-81BD-1F7308096CC8}" srcOrd="9" destOrd="0" presId="urn:microsoft.com/office/officeart/2005/8/layout/orgChart1"/>
    <dgm:cxn modelId="{0FA3B1BE-9E81-4568-B7F6-2FF73A430033}" type="presParOf" srcId="{15B9C00A-6A73-4158-81BD-1F7308096CC8}" destId="{0B45F736-1A0E-4A7B-A649-FBC58E1CBB7D}" srcOrd="0" destOrd="0" presId="urn:microsoft.com/office/officeart/2005/8/layout/orgChart1"/>
    <dgm:cxn modelId="{6421C186-3182-475C-9E55-2C27FB7DA5FB}" type="presParOf" srcId="{0B45F736-1A0E-4A7B-A649-FBC58E1CBB7D}" destId="{BD1C35E1-9751-4DD4-B9AF-1CFE8C8B4E70}" srcOrd="0" destOrd="0" presId="urn:microsoft.com/office/officeart/2005/8/layout/orgChart1"/>
    <dgm:cxn modelId="{2CC9AB1F-71DE-4405-968B-4C2E0973C87F}" type="presParOf" srcId="{0B45F736-1A0E-4A7B-A649-FBC58E1CBB7D}" destId="{E9D97F7E-F6E2-4876-9CCF-33FF7FB7A306}" srcOrd="1" destOrd="0" presId="urn:microsoft.com/office/officeart/2005/8/layout/orgChart1"/>
    <dgm:cxn modelId="{AE624097-AC16-42F0-B863-2F3D3204AE0F}" type="presParOf" srcId="{15B9C00A-6A73-4158-81BD-1F7308096CC8}" destId="{29CC4417-FD35-462A-AB7F-4A305202200E}" srcOrd="1" destOrd="0" presId="urn:microsoft.com/office/officeart/2005/8/layout/orgChart1"/>
    <dgm:cxn modelId="{E7444546-965D-4518-B178-93A23791BB08}" type="presParOf" srcId="{15B9C00A-6A73-4158-81BD-1F7308096CC8}" destId="{9EF0C1A1-B522-4DAB-AD15-507C0F3FBD56}" srcOrd="2" destOrd="0" presId="urn:microsoft.com/office/officeart/2005/8/layout/orgChart1"/>
    <dgm:cxn modelId="{F96BB6C5-9CE1-4283-A0E9-F552E1989B15}" type="presParOf" srcId="{DBD72DFC-EF80-4973-B6E5-D3C9AB052F9E}" destId="{1DBB8D6B-1EA9-448A-B87B-A162873E7B21}" srcOrd="2" destOrd="0" presId="urn:microsoft.com/office/officeart/2005/8/layout/orgChart1"/>
    <dgm:cxn modelId="{D05ECC00-65BE-456D-91D7-7184DA576277}" type="presParOf" srcId="{EC72B6B4-B63E-4FE2-8CC2-5FA221770366}" destId="{C137CAE9-66E1-459B-A733-9B53B02E07AF}" srcOrd="4" destOrd="0" presId="urn:microsoft.com/office/officeart/2005/8/layout/orgChart1"/>
    <dgm:cxn modelId="{ADD6DBDB-299C-45B2-82B9-8707C10C7240}" type="presParOf" srcId="{EC72B6B4-B63E-4FE2-8CC2-5FA221770366}" destId="{35CBA655-D40F-4A2B-B71A-711D392B5A84}" srcOrd="5" destOrd="0" presId="urn:microsoft.com/office/officeart/2005/8/layout/orgChart1"/>
    <dgm:cxn modelId="{E4C1F471-2596-4C1E-BEE8-25289E9F9E1F}" type="presParOf" srcId="{35CBA655-D40F-4A2B-B71A-711D392B5A84}" destId="{9DC86AED-B6DB-4100-9EA0-4E60FFB4A367}" srcOrd="0" destOrd="0" presId="urn:microsoft.com/office/officeart/2005/8/layout/orgChart1"/>
    <dgm:cxn modelId="{ECE85AAE-26C6-4AE6-8790-9E2F69FEC8B3}" type="presParOf" srcId="{9DC86AED-B6DB-4100-9EA0-4E60FFB4A367}" destId="{A5F2589C-C16C-45F2-9A3D-F2A6CB2476D1}" srcOrd="0" destOrd="0" presId="urn:microsoft.com/office/officeart/2005/8/layout/orgChart1"/>
    <dgm:cxn modelId="{A7190737-60FA-408C-89C8-9D1C29DD3698}" type="presParOf" srcId="{9DC86AED-B6DB-4100-9EA0-4E60FFB4A367}" destId="{6D7B6648-0B7F-4E1F-B6C5-CE0E2F04B9FF}" srcOrd="1" destOrd="0" presId="urn:microsoft.com/office/officeart/2005/8/layout/orgChart1"/>
    <dgm:cxn modelId="{61CFBD74-365E-43C9-AE73-008549A27DDB}" type="presParOf" srcId="{35CBA655-D40F-4A2B-B71A-711D392B5A84}" destId="{29CE8073-D253-4588-B954-7167D33B1947}" srcOrd="1" destOrd="0" presId="urn:microsoft.com/office/officeart/2005/8/layout/orgChart1"/>
    <dgm:cxn modelId="{69000614-525A-438E-A66C-C677BED54B59}" type="presParOf" srcId="{29CE8073-D253-4588-B954-7167D33B1947}" destId="{AEDC7120-FE6F-49D8-95F2-AB1B2B6AC9A8}" srcOrd="0" destOrd="0" presId="urn:microsoft.com/office/officeart/2005/8/layout/orgChart1"/>
    <dgm:cxn modelId="{4C8C9AD6-86C0-4303-ABF1-2517CD549003}" type="presParOf" srcId="{29CE8073-D253-4588-B954-7167D33B1947}" destId="{F65159AB-B6AE-4C58-BE85-DB4966F15FBA}" srcOrd="1" destOrd="0" presId="urn:microsoft.com/office/officeart/2005/8/layout/orgChart1"/>
    <dgm:cxn modelId="{C2AFAA10-3A35-464A-906E-0620894CC43E}" type="presParOf" srcId="{F65159AB-B6AE-4C58-BE85-DB4966F15FBA}" destId="{4413A7CD-B07B-4481-95F7-63264BEB8326}" srcOrd="0" destOrd="0" presId="urn:microsoft.com/office/officeart/2005/8/layout/orgChart1"/>
    <dgm:cxn modelId="{058CEAA0-0F6A-4248-8140-3D99CAC6FE08}" type="presParOf" srcId="{4413A7CD-B07B-4481-95F7-63264BEB8326}" destId="{6E033C69-6BA8-4812-AE4E-0022A986E944}" srcOrd="0" destOrd="0" presId="urn:microsoft.com/office/officeart/2005/8/layout/orgChart1"/>
    <dgm:cxn modelId="{853CE1C6-1F11-44CD-8C10-E5B17626320E}" type="presParOf" srcId="{4413A7CD-B07B-4481-95F7-63264BEB8326}" destId="{20C564F4-BF5C-4321-B86B-65391CEDEFC7}" srcOrd="1" destOrd="0" presId="urn:microsoft.com/office/officeart/2005/8/layout/orgChart1"/>
    <dgm:cxn modelId="{BA1B6DF5-BAA5-4AA8-908F-09AE6C5F8A8E}" type="presParOf" srcId="{F65159AB-B6AE-4C58-BE85-DB4966F15FBA}" destId="{7C0A51FE-5187-4FBA-A9F6-DFFAA1B3DD3E}" srcOrd="1" destOrd="0" presId="urn:microsoft.com/office/officeart/2005/8/layout/orgChart1"/>
    <dgm:cxn modelId="{2602D836-BC5C-446B-BCEB-50882F0D1A74}" type="presParOf" srcId="{F65159AB-B6AE-4C58-BE85-DB4966F15FBA}" destId="{A5F1F6CB-B812-4FEA-ACD0-E838992C8274}" srcOrd="2" destOrd="0" presId="urn:microsoft.com/office/officeart/2005/8/layout/orgChart1"/>
    <dgm:cxn modelId="{D7F3C5D6-D9D6-4470-8C65-D24E163FCE07}" type="presParOf" srcId="{29CE8073-D253-4588-B954-7167D33B1947}" destId="{28E82B1A-B1F2-4CC5-9B64-B60015CBF624}" srcOrd="2" destOrd="0" presId="urn:microsoft.com/office/officeart/2005/8/layout/orgChart1"/>
    <dgm:cxn modelId="{AF9D1A30-D494-4455-882A-26BBF590F0C5}" type="presParOf" srcId="{29CE8073-D253-4588-B954-7167D33B1947}" destId="{B22DAA2B-22C5-4EFA-A0A6-9AD0235D2103}" srcOrd="3" destOrd="0" presId="urn:microsoft.com/office/officeart/2005/8/layout/orgChart1"/>
    <dgm:cxn modelId="{8F1005A2-2065-4272-8E85-C9F1CF9474A0}" type="presParOf" srcId="{B22DAA2B-22C5-4EFA-A0A6-9AD0235D2103}" destId="{514CA667-AA27-4D37-9311-1D5D85EF643D}" srcOrd="0" destOrd="0" presId="urn:microsoft.com/office/officeart/2005/8/layout/orgChart1"/>
    <dgm:cxn modelId="{2617A677-F95E-48EB-91F0-40CFD1E4A253}" type="presParOf" srcId="{514CA667-AA27-4D37-9311-1D5D85EF643D}" destId="{428A54D9-43F6-47B6-B3A2-FDCE09CB5A97}" srcOrd="0" destOrd="0" presId="urn:microsoft.com/office/officeart/2005/8/layout/orgChart1"/>
    <dgm:cxn modelId="{AAD3914A-2726-4093-9E86-3B24FC0FC0B0}" type="presParOf" srcId="{514CA667-AA27-4D37-9311-1D5D85EF643D}" destId="{31DAB6FE-4097-4695-9397-7DCCE262634B}" srcOrd="1" destOrd="0" presId="urn:microsoft.com/office/officeart/2005/8/layout/orgChart1"/>
    <dgm:cxn modelId="{E48B4B32-B757-446A-A10C-79773795DB2D}" type="presParOf" srcId="{B22DAA2B-22C5-4EFA-A0A6-9AD0235D2103}" destId="{F4CC167B-F2F2-455C-9A45-823F18AFEF9A}" srcOrd="1" destOrd="0" presId="urn:microsoft.com/office/officeart/2005/8/layout/orgChart1"/>
    <dgm:cxn modelId="{E4D5E558-5687-4140-8B9F-933E556884E8}" type="presParOf" srcId="{B22DAA2B-22C5-4EFA-A0A6-9AD0235D2103}" destId="{A5D0575B-48E0-4A98-88E8-8B4961A6F762}" srcOrd="2" destOrd="0" presId="urn:microsoft.com/office/officeart/2005/8/layout/orgChart1"/>
    <dgm:cxn modelId="{F5C4A6CC-A912-4CCF-A8DD-0727741D9A27}" type="presParOf" srcId="{29CE8073-D253-4588-B954-7167D33B1947}" destId="{11628582-088E-42FA-B6EC-953F652565B0}" srcOrd="4" destOrd="0" presId="urn:microsoft.com/office/officeart/2005/8/layout/orgChart1"/>
    <dgm:cxn modelId="{0C4E9ECF-8DE3-4678-A0A1-218D2B21D16F}" type="presParOf" srcId="{29CE8073-D253-4588-B954-7167D33B1947}" destId="{7E6CA653-D7FD-4B20-AE44-C1F44E30C01B}" srcOrd="5" destOrd="0" presId="urn:microsoft.com/office/officeart/2005/8/layout/orgChart1"/>
    <dgm:cxn modelId="{A3EB8F86-AD18-43E0-B480-8141244646BE}" type="presParOf" srcId="{7E6CA653-D7FD-4B20-AE44-C1F44E30C01B}" destId="{E179F35A-A640-480A-9C40-3D39813B5DA3}" srcOrd="0" destOrd="0" presId="urn:microsoft.com/office/officeart/2005/8/layout/orgChart1"/>
    <dgm:cxn modelId="{B226AC2F-1315-477E-A887-040C8C9858CB}" type="presParOf" srcId="{E179F35A-A640-480A-9C40-3D39813B5DA3}" destId="{93507A0E-B606-4F7A-9C01-283769128FF2}" srcOrd="0" destOrd="0" presId="urn:microsoft.com/office/officeart/2005/8/layout/orgChart1"/>
    <dgm:cxn modelId="{7C80BAA1-43E4-4601-8C0A-B2EBD65A1FF2}" type="presParOf" srcId="{E179F35A-A640-480A-9C40-3D39813B5DA3}" destId="{FA7ED8CE-14CF-4D38-BE63-D19E93618025}" srcOrd="1" destOrd="0" presId="urn:microsoft.com/office/officeart/2005/8/layout/orgChart1"/>
    <dgm:cxn modelId="{A2BC31FA-D324-46AF-B52C-5D38BD0968C5}" type="presParOf" srcId="{7E6CA653-D7FD-4B20-AE44-C1F44E30C01B}" destId="{D06BFE77-47E2-4E99-9240-F26F88BFBEAB}" srcOrd="1" destOrd="0" presId="urn:microsoft.com/office/officeart/2005/8/layout/orgChart1"/>
    <dgm:cxn modelId="{B0B63DFC-612F-4D5B-9F9B-CCCA3E62852D}" type="presParOf" srcId="{7E6CA653-D7FD-4B20-AE44-C1F44E30C01B}" destId="{801CA00E-B2B0-4EC5-9889-E9E28C332373}" srcOrd="2" destOrd="0" presId="urn:microsoft.com/office/officeart/2005/8/layout/orgChart1"/>
    <dgm:cxn modelId="{AD0A5DD3-0927-4C73-ADD5-5570B90F3174}" type="presParOf" srcId="{35CBA655-D40F-4A2B-B71A-711D392B5A84}" destId="{528156B2-647C-44D5-ABAD-EBDCDF85B348}" srcOrd="2" destOrd="0" presId="urn:microsoft.com/office/officeart/2005/8/layout/orgChart1"/>
    <dgm:cxn modelId="{3258E9B7-16C0-4F56-82EA-1EAA391EAB3D}" type="presParOf" srcId="{EC72B6B4-B63E-4FE2-8CC2-5FA221770366}" destId="{B562ECC0-9994-4B01-9E77-D5C13C496118}" srcOrd="6" destOrd="0" presId="urn:microsoft.com/office/officeart/2005/8/layout/orgChart1"/>
    <dgm:cxn modelId="{D050ACDC-2616-4241-AEDD-D695C1ECB515}" type="presParOf" srcId="{EC72B6B4-B63E-4FE2-8CC2-5FA221770366}" destId="{E18799E9-9DA7-423F-B7B3-369EFE76B3B6}" srcOrd="7" destOrd="0" presId="urn:microsoft.com/office/officeart/2005/8/layout/orgChart1"/>
    <dgm:cxn modelId="{FFB03D94-6A9A-48A4-AED1-D94FE93EDA76}" type="presParOf" srcId="{E18799E9-9DA7-423F-B7B3-369EFE76B3B6}" destId="{354F8417-6C70-4131-8450-E52EDD2EFA17}" srcOrd="0" destOrd="0" presId="urn:microsoft.com/office/officeart/2005/8/layout/orgChart1"/>
    <dgm:cxn modelId="{D94D02A5-1640-4EF0-869C-112FF6C8DB03}" type="presParOf" srcId="{354F8417-6C70-4131-8450-E52EDD2EFA17}" destId="{67A44139-B3F0-4118-89E8-A44A0D503C36}" srcOrd="0" destOrd="0" presId="urn:microsoft.com/office/officeart/2005/8/layout/orgChart1"/>
    <dgm:cxn modelId="{42B9BFC7-6CA9-48F8-AB5A-13CE8FE3F34F}" type="presParOf" srcId="{354F8417-6C70-4131-8450-E52EDD2EFA17}" destId="{B2267437-59D9-4F70-9854-AF295901641A}" srcOrd="1" destOrd="0" presId="urn:microsoft.com/office/officeart/2005/8/layout/orgChart1"/>
    <dgm:cxn modelId="{0E93F4AC-435A-48D2-9B16-C72AB13EC4C8}" type="presParOf" srcId="{E18799E9-9DA7-423F-B7B3-369EFE76B3B6}" destId="{A6AF8EE9-DBFC-447B-8940-E76A065FD97B}" srcOrd="1" destOrd="0" presId="urn:microsoft.com/office/officeart/2005/8/layout/orgChart1"/>
    <dgm:cxn modelId="{ADF1C6D7-8186-4ECA-B518-3F985B6139E3}" type="presParOf" srcId="{A6AF8EE9-DBFC-447B-8940-E76A065FD97B}" destId="{2BC6CEE4-3F67-4FA6-8639-65EC4CCFF4D9}" srcOrd="0" destOrd="0" presId="urn:microsoft.com/office/officeart/2005/8/layout/orgChart1"/>
    <dgm:cxn modelId="{F1013155-F8E8-45E5-A12D-AEE10620D500}" type="presParOf" srcId="{A6AF8EE9-DBFC-447B-8940-E76A065FD97B}" destId="{56EAD692-CF12-4F08-9E91-48B2A708FB71}" srcOrd="1" destOrd="0" presId="urn:microsoft.com/office/officeart/2005/8/layout/orgChart1"/>
    <dgm:cxn modelId="{99B2D0B4-36AB-4149-82DF-23588CB9DEBD}" type="presParOf" srcId="{56EAD692-CF12-4F08-9E91-48B2A708FB71}" destId="{17485795-B1F1-44AB-A6F9-533EF86E010F}" srcOrd="0" destOrd="0" presId="urn:microsoft.com/office/officeart/2005/8/layout/orgChart1"/>
    <dgm:cxn modelId="{BF48659B-F989-43FB-9AD1-B9E5EE3BDF98}" type="presParOf" srcId="{17485795-B1F1-44AB-A6F9-533EF86E010F}" destId="{1B4F947A-69EB-46FF-A1EA-7664283D213E}" srcOrd="0" destOrd="0" presId="urn:microsoft.com/office/officeart/2005/8/layout/orgChart1"/>
    <dgm:cxn modelId="{BD9D357E-CEB9-4AB4-BA30-659A55C1DC94}" type="presParOf" srcId="{17485795-B1F1-44AB-A6F9-533EF86E010F}" destId="{C553D0C6-AEE4-4F65-8DAC-62449D94D6A7}" srcOrd="1" destOrd="0" presId="urn:microsoft.com/office/officeart/2005/8/layout/orgChart1"/>
    <dgm:cxn modelId="{FA678A80-50BF-47A7-9801-C8D65AE29D5A}" type="presParOf" srcId="{56EAD692-CF12-4F08-9E91-48B2A708FB71}" destId="{704B6FE3-1A93-464C-BD7D-26786EA03069}" srcOrd="1" destOrd="0" presId="urn:microsoft.com/office/officeart/2005/8/layout/orgChart1"/>
    <dgm:cxn modelId="{5E58140E-46C2-4973-B193-A8A936B01E3E}" type="presParOf" srcId="{56EAD692-CF12-4F08-9E91-48B2A708FB71}" destId="{DA9CB0A7-0D84-4FCC-8CAA-C663566F179D}" srcOrd="2" destOrd="0" presId="urn:microsoft.com/office/officeart/2005/8/layout/orgChart1"/>
    <dgm:cxn modelId="{BEEC1A57-69F2-4928-9A30-9DA68FCE3DF6}" type="presParOf" srcId="{A6AF8EE9-DBFC-447B-8940-E76A065FD97B}" destId="{981682D2-6375-4500-994F-C7CC83594561}" srcOrd="2" destOrd="0" presId="urn:microsoft.com/office/officeart/2005/8/layout/orgChart1"/>
    <dgm:cxn modelId="{FD1566E9-7AF6-4296-B1F7-DCB33D1B0787}" type="presParOf" srcId="{A6AF8EE9-DBFC-447B-8940-E76A065FD97B}" destId="{5AD24796-DC78-4C67-B9F3-06DC4CB79087}" srcOrd="3" destOrd="0" presId="urn:microsoft.com/office/officeart/2005/8/layout/orgChart1"/>
    <dgm:cxn modelId="{74D8115D-478C-4EF6-88EA-E92BBCD2EB9C}" type="presParOf" srcId="{5AD24796-DC78-4C67-B9F3-06DC4CB79087}" destId="{0E2F19BE-3966-4520-8470-5F47706807ED}" srcOrd="0" destOrd="0" presId="urn:microsoft.com/office/officeart/2005/8/layout/orgChart1"/>
    <dgm:cxn modelId="{FAAFF904-A517-40AA-A8B6-13FC769991D6}" type="presParOf" srcId="{0E2F19BE-3966-4520-8470-5F47706807ED}" destId="{78B1DB83-1FBB-4B72-AADA-6CBB1DAEF356}" srcOrd="0" destOrd="0" presId="urn:microsoft.com/office/officeart/2005/8/layout/orgChart1"/>
    <dgm:cxn modelId="{911870D8-C0CE-487C-A0CD-392B048DC277}" type="presParOf" srcId="{0E2F19BE-3966-4520-8470-5F47706807ED}" destId="{BB23809A-293F-4A54-B283-6C2D984F118D}" srcOrd="1" destOrd="0" presId="urn:microsoft.com/office/officeart/2005/8/layout/orgChart1"/>
    <dgm:cxn modelId="{D00E4B6F-4AD5-4203-BC48-3BC87FE0D208}" type="presParOf" srcId="{5AD24796-DC78-4C67-B9F3-06DC4CB79087}" destId="{9F248D76-C2BC-4060-8C04-B530C444F409}" srcOrd="1" destOrd="0" presId="urn:microsoft.com/office/officeart/2005/8/layout/orgChart1"/>
    <dgm:cxn modelId="{E075FB9E-9664-45DF-AEC4-F1524F2951B2}" type="presParOf" srcId="{9F248D76-C2BC-4060-8C04-B530C444F409}" destId="{AD70828E-DDD4-480C-BDFF-1E596F6615D1}" srcOrd="0" destOrd="0" presId="urn:microsoft.com/office/officeart/2005/8/layout/orgChart1"/>
    <dgm:cxn modelId="{99A31994-B662-4EAC-8574-47EA8AED74F0}" type="presParOf" srcId="{9F248D76-C2BC-4060-8C04-B530C444F409}" destId="{147EF30B-BA3D-4473-9AD2-CC7014F27C11}" srcOrd="1" destOrd="0" presId="urn:microsoft.com/office/officeart/2005/8/layout/orgChart1"/>
    <dgm:cxn modelId="{BFE0A4EB-9B32-4748-961A-C2C5DB88CA3A}" type="presParOf" srcId="{147EF30B-BA3D-4473-9AD2-CC7014F27C11}" destId="{77306BB1-6CDB-40C5-85B1-4980890A9206}" srcOrd="0" destOrd="0" presId="urn:microsoft.com/office/officeart/2005/8/layout/orgChart1"/>
    <dgm:cxn modelId="{2A6AC53A-A3F7-4F3E-B445-20FAEDC927E7}" type="presParOf" srcId="{77306BB1-6CDB-40C5-85B1-4980890A9206}" destId="{43C79B55-7800-4403-B3B4-49E5363FFF1E}" srcOrd="0" destOrd="0" presId="urn:microsoft.com/office/officeart/2005/8/layout/orgChart1"/>
    <dgm:cxn modelId="{4F62B307-CE16-45AF-9766-2F894905509A}" type="presParOf" srcId="{77306BB1-6CDB-40C5-85B1-4980890A9206}" destId="{FD009694-C9A9-4545-B9B4-AE343C4C6314}" srcOrd="1" destOrd="0" presId="urn:microsoft.com/office/officeart/2005/8/layout/orgChart1"/>
    <dgm:cxn modelId="{615F3CBB-73B6-4CAC-A2B8-A7588D41EE32}" type="presParOf" srcId="{147EF30B-BA3D-4473-9AD2-CC7014F27C11}" destId="{E7CAB4B1-64D6-4507-9B2D-46604CB6848C}" srcOrd="1" destOrd="0" presId="urn:microsoft.com/office/officeart/2005/8/layout/orgChart1"/>
    <dgm:cxn modelId="{6786524D-538E-4F7D-A0B5-518C14C6D47B}" type="presParOf" srcId="{147EF30B-BA3D-4473-9AD2-CC7014F27C11}" destId="{283463B1-15A6-4BEF-B96E-DE2502D9F6DF}" srcOrd="2" destOrd="0" presId="urn:microsoft.com/office/officeart/2005/8/layout/orgChart1"/>
    <dgm:cxn modelId="{F3370792-3088-4261-9D87-F3195BAE0771}" type="presParOf" srcId="{5AD24796-DC78-4C67-B9F3-06DC4CB79087}" destId="{6105CD00-5C50-452A-994E-5B0FFFC4DA91}" srcOrd="2" destOrd="0" presId="urn:microsoft.com/office/officeart/2005/8/layout/orgChart1"/>
    <dgm:cxn modelId="{BBE9A02B-F010-45B5-962F-2FB1645ADDA3}" type="presParOf" srcId="{E18799E9-9DA7-423F-B7B3-369EFE76B3B6}" destId="{430C728D-004C-49FD-A0C1-71CD6E772786}" srcOrd="2" destOrd="0" presId="urn:microsoft.com/office/officeart/2005/8/layout/orgChart1"/>
    <dgm:cxn modelId="{D380D2A1-8597-4944-98AE-286C30677BA7}" type="presParOf" srcId="{25A00B3E-FEA8-439F-999E-8DB6BC95DBC0}" destId="{B87F60ED-85BE-4872-BA6E-CDCB9CBDC6A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F388605-A345-204A-9E4B-28D3A38D2512}">
      <dsp:nvSpPr>
        <dsp:cNvPr id="0" name=""/>
        <dsp:cNvSpPr/>
      </dsp:nvSpPr>
      <dsp:spPr>
        <a:xfrm>
          <a:off x="0" y="18042"/>
          <a:ext cx="8382000" cy="170469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lvl="0" algn="l" defTabSz="1377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/>
            <a:t>A measure of the system’s ability to resist unauthorized usage while still providing its services to legitimate users </a:t>
          </a:r>
          <a:endParaRPr lang="en-US" sz="3100" kern="1200" dirty="0"/>
        </a:p>
      </dsp:txBody>
      <dsp:txXfrm>
        <a:off x="0" y="18042"/>
        <a:ext cx="8382000" cy="1704690"/>
      </dsp:txXfrm>
    </dsp:sp>
    <dsp:sp modelId="{33211614-1338-9643-BBE0-1571CD99DB0F}">
      <dsp:nvSpPr>
        <dsp:cNvPr id="0" name=""/>
        <dsp:cNvSpPr/>
      </dsp:nvSpPr>
      <dsp:spPr>
        <a:xfrm>
          <a:off x="0" y="1722732"/>
          <a:ext cx="8382000" cy="7539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129" tIns="39370" rIns="220472" bIns="39370" numCol="1" spcCol="1270" anchor="t" anchorCtr="0">
          <a:noAutofit/>
        </a:bodyPr>
        <a:lstStyle/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400" kern="1200" dirty="0" smtClean="0"/>
            <a:t>A</a:t>
          </a:r>
          <a:r>
            <a:rPr lang="x-none" sz="2400" kern="1200" dirty="0" smtClean="0"/>
            <a:t>bility to </a:t>
          </a:r>
          <a:r>
            <a:rPr lang="en-US" sz="2400" kern="1200" dirty="0" smtClean="0"/>
            <a:t>protect data and information from unauthorized access</a:t>
          </a:r>
          <a:endParaRPr lang="en-US" sz="2400" kern="1200" dirty="0"/>
        </a:p>
      </dsp:txBody>
      <dsp:txXfrm>
        <a:off x="0" y="1722732"/>
        <a:ext cx="8382000" cy="753997"/>
      </dsp:txXfrm>
    </dsp:sp>
    <dsp:sp modelId="{25BD7C58-BD5D-8348-9F9B-A3B52122AD1E}">
      <dsp:nvSpPr>
        <dsp:cNvPr id="0" name=""/>
        <dsp:cNvSpPr/>
      </dsp:nvSpPr>
      <dsp:spPr>
        <a:xfrm>
          <a:off x="0" y="2476729"/>
          <a:ext cx="8382000" cy="962263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lvl="0" algn="l" defTabSz="1377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/>
            <a:t>An attempt to breach this is an “Attack”</a:t>
          </a:r>
          <a:endParaRPr lang="en-US" sz="3100" kern="1200" dirty="0"/>
        </a:p>
      </dsp:txBody>
      <dsp:txXfrm>
        <a:off x="0" y="2476729"/>
        <a:ext cx="8382000" cy="962263"/>
      </dsp:txXfrm>
    </dsp:sp>
    <dsp:sp modelId="{04FE1B9F-E17B-C84F-9145-046282489198}">
      <dsp:nvSpPr>
        <dsp:cNvPr id="0" name=""/>
        <dsp:cNvSpPr/>
      </dsp:nvSpPr>
      <dsp:spPr>
        <a:xfrm>
          <a:off x="0" y="3438992"/>
          <a:ext cx="8382000" cy="15721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129" tIns="39370" rIns="220472" bIns="39370" numCol="1" spcCol="1270" anchor="t" anchorCtr="0">
          <a:noAutofit/>
        </a:bodyPr>
        <a:lstStyle/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400" kern="1200" dirty="0" smtClean="0"/>
            <a:t>Unauthorized attempt to access, modify, delete data</a:t>
          </a:r>
          <a:endParaRPr lang="en-US" sz="2400" kern="1200" dirty="0"/>
        </a:p>
        <a:p>
          <a:pPr marL="457200" lvl="2" indent="-228600" algn="l" defTabSz="10668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400" kern="1200" dirty="0" smtClean="0"/>
            <a:t>Theft of money by </a:t>
          </a:r>
          <a:r>
            <a:rPr lang="en-US" sz="2400" kern="1200" dirty="0" err="1" smtClean="0"/>
            <a:t>e</a:t>
          </a:r>
          <a:r>
            <a:rPr lang="en-US" sz="2400" kern="1200" dirty="0" smtClean="0"/>
            <a:t>-transfer, modification records and files, reading and copying sensitive data like credit card number</a:t>
          </a:r>
          <a:endParaRPr lang="en-US" sz="2400" kern="1200" dirty="0"/>
        </a:p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400" kern="1200" dirty="0" smtClean="0"/>
            <a:t>Deny service to legitimate users</a:t>
          </a:r>
          <a:endParaRPr lang="en-US" sz="2400" kern="1200" dirty="0"/>
        </a:p>
      </dsp:txBody>
      <dsp:txXfrm>
        <a:off x="0" y="3438992"/>
        <a:ext cx="8382000" cy="1572165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C6B03D3-B558-D24C-9A50-B32C4D475D72}">
      <dsp:nvSpPr>
        <dsp:cNvPr id="0" name=""/>
        <dsp:cNvSpPr/>
      </dsp:nvSpPr>
      <dsp:spPr>
        <a:xfrm>
          <a:off x="1763" y="0"/>
          <a:ext cx="4491632" cy="5105400"/>
        </a:xfrm>
        <a:prstGeom prst="roundRect">
          <a:avLst>
            <a:gd name="adj" fmla="val 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96012" rIns="124460" bIns="0" numCol="1" spcCol="1270" anchor="t" anchorCtr="0">
          <a:noAutofit/>
        </a:bodyPr>
        <a:lstStyle/>
        <a:p>
          <a:pPr lvl="0" algn="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Security comprises of</a:t>
          </a:r>
          <a:endParaRPr lang="en-US" sz="2800" kern="1200" dirty="0"/>
        </a:p>
      </dsp:txBody>
      <dsp:txXfrm rot="16200000">
        <a:off x="-1642287" y="1644050"/>
        <a:ext cx="4186428" cy="898326"/>
      </dsp:txXfrm>
    </dsp:sp>
    <dsp:sp modelId="{516CD90F-10E0-7344-8A7D-E17D8C31353A}">
      <dsp:nvSpPr>
        <dsp:cNvPr id="0" name=""/>
        <dsp:cNvSpPr/>
      </dsp:nvSpPr>
      <dsp:spPr>
        <a:xfrm>
          <a:off x="900090" y="0"/>
          <a:ext cx="3346266" cy="5105400"/>
        </a:xfrm>
        <a:prstGeom prst="rect">
          <a:avLst/>
        </a:prstGeom>
        <a:noFill/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61722" rIns="0" bIns="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Confidentiality</a:t>
          </a:r>
          <a:endParaRPr lang="en-US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prevention of the unauthorized disclosure of information. E.g. Nobody except you should be able to access your income tax returns on an online tax-filing site</a:t>
          </a:r>
          <a:endParaRPr lang="en-US" sz="1800" kern="1200" dirty="0"/>
        </a:p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Integrity</a:t>
          </a:r>
          <a:endParaRPr lang="en-US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prevention of the unauthorized modification or deletion of information. E.g. your grade has not been changed since your instructor assigned it</a:t>
          </a:r>
          <a:endParaRPr lang="en-US" sz="1800" kern="1200" dirty="0"/>
        </a:p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Availability</a:t>
          </a:r>
          <a:endParaRPr lang="en-US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prevention of the unauthorized withholding of information – e.g. </a:t>
          </a:r>
          <a:r>
            <a:rPr lang="en-US" sz="1800" kern="1200" dirty="0" err="1" smtClean="0"/>
            <a:t>DoS</a:t>
          </a:r>
          <a:r>
            <a:rPr lang="en-US" sz="1800" kern="1200" dirty="0" smtClean="0"/>
            <a:t> attack should not prevent you from booking railway ticket</a:t>
          </a:r>
          <a:endParaRPr lang="en-US" sz="1800" kern="1200" dirty="0"/>
        </a:p>
      </dsp:txBody>
      <dsp:txXfrm>
        <a:off x="900090" y="0"/>
        <a:ext cx="3346266" cy="5105400"/>
      </dsp:txXfrm>
    </dsp:sp>
    <dsp:sp modelId="{9B427739-16C8-014B-9E87-7AA2D7879E7B}">
      <dsp:nvSpPr>
        <dsp:cNvPr id="0" name=""/>
        <dsp:cNvSpPr/>
      </dsp:nvSpPr>
      <dsp:spPr>
        <a:xfrm>
          <a:off x="4650603" y="0"/>
          <a:ext cx="4491632" cy="5105400"/>
        </a:xfrm>
        <a:prstGeom prst="roundRect">
          <a:avLst>
            <a:gd name="adj" fmla="val 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96012" rIns="124460" bIns="0" numCol="1" spcCol="1270" anchor="t" anchorCtr="0">
          <a:noAutofit/>
        </a:bodyPr>
        <a:lstStyle/>
        <a:p>
          <a:pPr lvl="0" algn="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Important aspects of Security</a:t>
          </a:r>
          <a:endParaRPr lang="en-US" sz="2800" kern="1200" dirty="0"/>
        </a:p>
      </dsp:txBody>
      <dsp:txXfrm rot="16200000">
        <a:off x="3006552" y="1644050"/>
        <a:ext cx="4186428" cy="898326"/>
      </dsp:txXfrm>
    </dsp:sp>
    <dsp:sp modelId="{D760B72C-FAEE-F247-AA70-3034A714237E}">
      <dsp:nvSpPr>
        <dsp:cNvPr id="0" name=""/>
        <dsp:cNvSpPr/>
      </dsp:nvSpPr>
      <dsp:spPr>
        <a:xfrm rot="5400000">
          <a:off x="4298014" y="4038674"/>
          <a:ext cx="750093" cy="673744"/>
        </a:xfrm>
        <a:prstGeom prst="flowChartExtra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2CB44A-DD69-9F43-92A3-47F1E7ED335A}">
      <dsp:nvSpPr>
        <dsp:cNvPr id="0" name=""/>
        <dsp:cNvSpPr/>
      </dsp:nvSpPr>
      <dsp:spPr>
        <a:xfrm>
          <a:off x="5548930" y="0"/>
          <a:ext cx="3346266" cy="5105400"/>
        </a:xfrm>
        <a:prstGeom prst="rect">
          <a:avLst/>
        </a:prstGeom>
        <a:noFill/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61722" rIns="0" bIns="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Non repudiation::  An activity (say a transaction) can’t be denied by any of the parties involved. E.g.</a:t>
          </a:r>
          <a:r>
            <a:rPr lang="x-none" sz="1800" kern="1200" dirty="0" smtClean="0"/>
            <a:t> you cannot </a:t>
          </a:r>
          <a:r>
            <a:rPr lang="en-US" sz="1800" kern="1200" dirty="0" smtClean="0"/>
            <a:t>deny </a:t>
          </a:r>
          <a:r>
            <a:rPr lang="x-none" sz="1800" kern="1200" dirty="0" smtClean="0"/>
            <a:t>ordering something from the </a:t>
          </a:r>
          <a:r>
            <a:rPr lang="en-US" sz="1800" kern="1200" dirty="0" smtClean="0"/>
            <a:t>I</a:t>
          </a:r>
          <a:r>
            <a:rPr lang="x-none" sz="1800" kern="1200" dirty="0" smtClean="0"/>
            <a:t>nternet</a:t>
          </a:r>
          <a:r>
            <a:rPr lang="en-US" sz="1800" kern="1200" dirty="0" smtClean="0"/>
            <a:t>, or </a:t>
          </a:r>
          <a:r>
            <a:rPr lang="x-none" sz="1800" kern="1200" dirty="0" smtClean="0"/>
            <a:t>the merchant cannot </a:t>
          </a:r>
          <a:r>
            <a:rPr lang="en-US" sz="1800" kern="1200" dirty="0" smtClean="0"/>
            <a:t>disclaim </a:t>
          </a:r>
          <a:r>
            <a:rPr lang="x-none" sz="1800" kern="1200" dirty="0" smtClean="0"/>
            <a:t>getting your order.</a:t>
          </a:r>
          <a:endParaRPr lang="en-US" sz="1800" kern="1200" dirty="0"/>
        </a:p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Assurance:: Parties in an </a:t>
          </a:r>
          <a:r>
            <a:rPr lang="en-US" sz="1800" kern="1200" dirty="0" smtClean="0"/>
            <a:t>activity </a:t>
          </a:r>
          <a:r>
            <a:rPr lang="en-US" sz="1800" kern="1200" dirty="0" smtClean="0"/>
            <a:t>are assured to be who they purport to be. Typically done through authentication. E.g. if you get an email purporting to come from a bank, it is indeed from  a bank.</a:t>
          </a:r>
          <a:endParaRPr lang="en-US" sz="1800" kern="1200" dirty="0"/>
        </a:p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Auditing:: System tracks activities so that it can be reconstructed later</a:t>
          </a:r>
          <a:endParaRPr lang="en-US" sz="1800" kern="1200" dirty="0"/>
        </a:p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x-none" sz="1800" kern="1200" dirty="0" smtClean="0"/>
            <a:t>Authorization </a:t>
          </a:r>
          <a:r>
            <a:rPr lang="en-US" sz="1800" kern="1200" dirty="0" smtClean="0"/>
            <a:t>grants </a:t>
          </a:r>
          <a:r>
            <a:rPr lang="x-none" sz="1800" kern="1200" dirty="0" smtClean="0"/>
            <a:t>a user the privileges to perform a task. For example, </a:t>
          </a:r>
          <a:r>
            <a:rPr lang="en-US" sz="1800" kern="1200" dirty="0" smtClean="0"/>
            <a:t>an online banking system authorizes a legitimate user to access his account</a:t>
          </a:r>
          <a:r>
            <a:rPr lang="x-none" sz="1800" kern="1200" dirty="0" smtClean="0"/>
            <a:t>.</a:t>
          </a:r>
          <a:endParaRPr lang="en-US" sz="1800" kern="1200" dirty="0"/>
        </a:p>
      </dsp:txBody>
      <dsp:txXfrm>
        <a:off x="5548930" y="0"/>
        <a:ext cx="3346266" cy="510540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D70828E-DDD4-480C-BDFF-1E596F6615D1}">
      <dsp:nvSpPr>
        <dsp:cNvPr id="0" name=""/>
        <dsp:cNvSpPr/>
      </dsp:nvSpPr>
      <dsp:spPr>
        <a:xfrm>
          <a:off x="6262109" y="3599426"/>
          <a:ext cx="161382" cy="7150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5036"/>
              </a:lnTo>
              <a:lnTo>
                <a:pt x="161382" y="715036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1682D2-6375-4500-994F-C7CC83594561}">
      <dsp:nvSpPr>
        <dsp:cNvPr id="0" name=""/>
        <dsp:cNvSpPr/>
      </dsp:nvSpPr>
      <dsp:spPr>
        <a:xfrm>
          <a:off x="6800998" y="1480042"/>
          <a:ext cx="125546" cy="16647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69219"/>
              </a:lnTo>
              <a:lnTo>
                <a:pt x="125546" y="1569219"/>
              </a:lnTo>
              <a:lnTo>
                <a:pt x="125546" y="1664702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BC6CEE4-3F67-4FA6-8639-65EC4CCFF4D9}">
      <dsp:nvSpPr>
        <dsp:cNvPr id="0" name=""/>
        <dsp:cNvSpPr/>
      </dsp:nvSpPr>
      <dsp:spPr>
        <a:xfrm>
          <a:off x="6800998" y="1480042"/>
          <a:ext cx="821501" cy="72563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30147"/>
              </a:lnTo>
              <a:lnTo>
                <a:pt x="821501" y="630147"/>
              </a:lnTo>
              <a:lnTo>
                <a:pt x="821501" y="725630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62ECC0-9994-4B01-9E77-D5C13C496118}">
      <dsp:nvSpPr>
        <dsp:cNvPr id="0" name=""/>
        <dsp:cNvSpPr/>
      </dsp:nvSpPr>
      <dsp:spPr>
        <a:xfrm>
          <a:off x="3655945" y="313207"/>
          <a:ext cx="3145052" cy="7121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16670"/>
              </a:lnTo>
              <a:lnTo>
                <a:pt x="3145052" y="616670"/>
              </a:lnTo>
              <a:lnTo>
                <a:pt x="3145052" y="712153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628582-088E-42FA-B6EC-953F652565B0}">
      <dsp:nvSpPr>
        <dsp:cNvPr id="0" name=""/>
        <dsp:cNvSpPr/>
      </dsp:nvSpPr>
      <dsp:spPr>
        <a:xfrm>
          <a:off x="4308473" y="1501853"/>
          <a:ext cx="279530" cy="20988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98841"/>
              </a:lnTo>
              <a:lnTo>
                <a:pt x="279530" y="209884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E82B1A-B1F2-4CC5-9B64-B60015CBF624}">
      <dsp:nvSpPr>
        <dsp:cNvPr id="0" name=""/>
        <dsp:cNvSpPr/>
      </dsp:nvSpPr>
      <dsp:spPr>
        <a:xfrm>
          <a:off x="4308473" y="1501853"/>
          <a:ext cx="279530" cy="14531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53194"/>
              </a:lnTo>
              <a:lnTo>
                <a:pt x="279530" y="1453194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DC7120-FE6F-49D8-95F2-AB1B2B6AC9A8}">
      <dsp:nvSpPr>
        <dsp:cNvPr id="0" name=""/>
        <dsp:cNvSpPr/>
      </dsp:nvSpPr>
      <dsp:spPr>
        <a:xfrm>
          <a:off x="4308473" y="1501853"/>
          <a:ext cx="279530" cy="8075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07546"/>
              </a:lnTo>
              <a:lnTo>
                <a:pt x="279530" y="807546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37CAE9-66E1-459B-A733-9B53B02E07AF}">
      <dsp:nvSpPr>
        <dsp:cNvPr id="0" name=""/>
        <dsp:cNvSpPr/>
      </dsp:nvSpPr>
      <dsp:spPr>
        <a:xfrm>
          <a:off x="3655945" y="313207"/>
          <a:ext cx="1076538" cy="7339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38481"/>
              </a:lnTo>
              <a:lnTo>
                <a:pt x="1076538" y="638481"/>
              </a:lnTo>
              <a:lnTo>
                <a:pt x="1076538" y="733964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40857E-8E92-4FD3-BB54-32F6C167CD09}">
      <dsp:nvSpPr>
        <dsp:cNvPr id="0" name=""/>
        <dsp:cNvSpPr/>
      </dsp:nvSpPr>
      <dsp:spPr>
        <a:xfrm>
          <a:off x="2224532" y="1477523"/>
          <a:ext cx="92664" cy="33243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4335"/>
              </a:lnTo>
              <a:lnTo>
                <a:pt x="92664" y="3324335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94D9E8-C2A3-4765-9477-D710CC646957}">
      <dsp:nvSpPr>
        <dsp:cNvPr id="0" name=""/>
        <dsp:cNvSpPr/>
      </dsp:nvSpPr>
      <dsp:spPr>
        <a:xfrm>
          <a:off x="2224532" y="1477523"/>
          <a:ext cx="92664" cy="27147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14735"/>
              </a:lnTo>
              <a:lnTo>
                <a:pt x="92664" y="2714735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4D3FE4-1739-4B3C-ACD2-597D18FBC50F}">
      <dsp:nvSpPr>
        <dsp:cNvPr id="0" name=""/>
        <dsp:cNvSpPr/>
      </dsp:nvSpPr>
      <dsp:spPr>
        <a:xfrm>
          <a:off x="2224532" y="1477523"/>
          <a:ext cx="92664" cy="20428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42838"/>
              </a:lnTo>
              <a:lnTo>
                <a:pt x="92664" y="204283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E10A4AF-D8A8-4F2D-9661-56E5DBB5B2C5}">
      <dsp:nvSpPr>
        <dsp:cNvPr id="0" name=""/>
        <dsp:cNvSpPr/>
      </dsp:nvSpPr>
      <dsp:spPr>
        <a:xfrm>
          <a:off x="2224532" y="1477523"/>
          <a:ext cx="92664" cy="13517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51734"/>
              </a:lnTo>
              <a:lnTo>
                <a:pt x="92664" y="1351734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07306D-4BD7-4477-BB61-A954489058D6}">
      <dsp:nvSpPr>
        <dsp:cNvPr id="0" name=""/>
        <dsp:cNvSpPr/>
      </dsp:nvSpPr>
      <dsp:spPr>
        <a:xfrm>
          <a:off x="2224532" y="1477523"/>
          <a:ext cx="92664" cy="7515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51561"/>
              </a:lnTo>
              <a:lnTo>
                <a:pt x="92664" y="75156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956835-3386-449C-A89B-65F7C680246D}">
      <dsp:nvSpPr>
        <dsp:cNvPr id="0" name=""/>
        <dsp:cNvSpPr/>
      </dsp:nvSpPr>
      <dsp:spPr>
        <a:xfrm>
          <a:off x="2588278" y="313207"/>
          <a:ext cx="1067667" cy="709634"/>
        </a:xfrm>
        <a:custGeom>
          <a:avLst/>
          <a:gdLst/>
          <a:ahLst/>
          <a:cxnLst/>
          <a:rect l="0" t="0" r="0" b="0"/>
          <a:pathLst>
            <a:path>
              <a:moveTo>
                <a:pt x="1067667" y="0"/>
              </a:moveTo>
              <a:lnTo>
                <a:pt x="1067667" y="614151"/>
              </a:lnTo>
              <a:lnTo>
                <a:pt x="0" y="614151"/>
              </a:lnTo>
              <a:lnTo>
                <a:pt x="0" y="709634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62AD45-37CE-4E4E-81E1-98A75BFFED33}">
      <dsp:nvSpPr>
        <dsp:cNvPr id="0" name=""/>
        <dsp:cNvSpPr/>
      </dsp:nvSpPr>
      <dsp:spPr>
        <a:xfrm>
          <a:off x="248377" y="1403842"/>
          <a:ext cx="158938" cy="328627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86272"/>
              </a:lnTo>
              <a:lnTo>
                <a:pt x="158938" y="3286272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C84909-550F-4BDC-8966-B86E5E1786AE}">
      <dsp:nvSpPr>
        <dsp:cNvPr id="0" name=""/>
        <dsp:cNvSpPr/>
      </dsp:nvSpPr>
      <dsp:spPr>
        <a:xfrm>
          <a:off x="248377" y="1403842"/>
          <a:ext cx="294360" cy="245050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50503"/>
              </a:lnTo>
              <a:lnTo>
                <a:pt x="294360" y="2450503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B3E9C0-0CE1-4B88-9E71-F7CE1A7F99D7}">
      <dsp:nvSpPr>
        <dsp:cNvPr id="0" name=""/>
        <dsp:cNvSpPr/>
      </dsp:nvSpPr>
      <dsp:spPr>
        <a:xfrm>
          <a:off x="248377" y="1403842"/>
          <a:ext cx="313293" cy="16992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99231"/>
              </a:lnTo>
              <a:lnTo>
                <a:pt x="313293" y="169923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3ED5F7-10A0-45C9-B814-5804FA76917E}">
      <dsp:nvSpPr>
        <dsp:cNvPr id="0" name=""/>
        <dsp:cNvSpPr/>
      </dsp:nvSpPr>
      <dsp:spPr>
        <a:xfrm>
          <a:off x="248377" y="1403842"/>
          <a:ext cx="294360" cy="99576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95763"/>
              </a:lnTo>
              <a:lnTo>
                <a:pt x="294360" y="995763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3BC68A0-CABF-4126-884C-C90818E1E26E}">
      <dsp:nvSpPr>
        <dsp:cNvPr id="0" name=""/>
        <dsp:cNvSpPr/>
      </dsp:nvSpPr>
      <dsp:spPr>
        <a:xfrm>
          <a:off x="612123" y="313207"/>
          <a:ext cx="3043822" cy="677393"/>
        </a:xfrm>
        <a:custGeom>
          <a:avLst/>
          <a:gdLst/>
          <a:ahLst/>
          <a:cxnLst/>
          <a:rect l="0" t="0" r="0" b="0"/>
          <a:pathLst>
            <a:path>
              <a:moveTo>
                <a:pt x="3043822" y="0"/>
              </a:moveTo>
              <a:lnTo>
                <a:pt x="3043822" y="581910"/>
              </a:lnTo>
              <a:lnTo>
                <a:pt x="0" y="581910"/>
              </a:lnTo>
              <a:lnTo>
                <a:pt x="0" y="677393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D90FEA-3135-49C2-A3C0-CFEDDC6405B3}">
      <dsp:nvSpPr>
        <dsp:cNvPr id="0" name=""/>
        <dsp:cNvSpPr/>
      </dsp:nvSpPr>
      <dsp:spPr>
        <a:xfrm>
          <a:off x="2667004" y="0"/>
          <a:ext cx="1977882" cy="313207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Security</a:t>
          </a:r>
          <a:endParaRPr lang="en-US" sz="2000" kern="1200" dirty="0"/>
        </a:p>
      </dsp:txBody>
      <dsp:txXfrm>
        <a:off x="2667004" y="0"/>
        <a:ext cx="1977882" cy="313207"/>
      </dsp:txXfrm>
    </dsp:sp>
    <dsp:sp modelId="{5E5C4910-D5C2-4117-9825-0F4E2308A1D4}">
      <dsp:nvSpPr>
        <dsp:cNvPr id="0" name=""/>
        <dsp:cNvSpPr/>
      </dsp:nvSpPr>
      <dsp:spPr>
        <a:xfrm>
          <a:off x="157441" y="990600"/>
          <a:ext cx="909363" cy="413241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Detect</a:t>
          </a:r>
          <a:endParaRPr lang="en-US" sz="1800" kern="1200" dirty="0"/>
        </a:p>
      </dsp:txBody>
      <dsp:txXfrm>
        <a:off x="157441" y="990600"/>
        <a:ext cx="909363" cy="413241"/>
      </dsp:txXfrm>
    </dsp:sp>
    <dsp:sp modelId="{1064D61A-5C37-497D-A6F5-6312AB6E3F5A}">
      <dsp:nvSpPr>
        <dsp:cNvPr id="0" name=""/>
        <dsp:cNvSpPr/>
      </dsp:nvSpPr>
      <dsp:spPr>
        <a:xfrm>
          <a:off x="542738" y="2127336"/>
          <a:ext cx="1209862" cy="544540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ntrusion detection</a:t>
          </a:r>
          <a:endParaRPr lang="en-US" sz="1600" kern="1200" dirty="0"/>
        </a:p>
      </dsp:txBody>
      <dsp:txXfrm>
        <a:off x="542738" y="2127336"/>
        <a:ext cx="1209862" cy="544540"/>
      </dsp:txXfrm>
    </dsp:sp>
    <dsp:sp modelId="{A77E27D0-EFD7-495B-9E1A-5A5371B8AB84}">
      <dsp:nvSpPr>
        <dsp:cNvPr id="0" name=""/>
        <dsp:cNvSpPr/>
      </dsp:nvSpPr>
      <dsp:spPr>
        <a:xfrm>
          <a:off x="561671" y="2832320"/>
          <a:ext cx="1190929" cy="541507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Detect service denial</a:t>
          </a:r>
          <a:endParaRPr lang="en-US" sz="1600" kern="1200" dirty="0"/>
        </a:p>
      </dsp:txBody>
      <dsp:txXfrm>
        <a:off x="561671" y="2832320"/>
        <a:ext cx="1190929" cy="541507"/>
      </dsp:txXfrm>
    </dsp:sp>
    <dsp:sp modelId="{984A4F3B-0A00-4E5A-9092-1922B8A7FAB3}">
      <dsp:nvSpPr>
        <dsp:cNvPr id="0" name=""/>
        <dsp:cNvSpPr/>
      </dsp:nvSpPr>
      <dsp:spPr>
        <a:xfrm>
          <a:off x="542738" y="3507231"/>
          <a:ext cx="1209862" cy="694230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Verify message integrity</a:t>
          </a:r>
          <a:endParaRPr lang="en-US" sz="1600" kern="1200" dirty="0"/>
        </a:p>
      </dsp:txBody>
      <dsp:txXfrm>
        <a:off x="542738" y="3507231"/>
        <a:ext cx="1209862" cy="694230"/>
      </dsp:txXfrm>
    </dsp:sp>
    <dsp:sp modelId="{E8D3E92A-0794-4DFF-ADF5-83A9F9869BDA}">
      <dsp:nvSpPr>
        <dsp:cNvPr id="0" name=""/>
        <dsp:cNvSpPr/>
      </dsp:nvSpPr>
      <dsp:spPr>
        <a:xfrm>
          <a:off x="407316" y="4409205"/>
          <a:ext cx="1345284" cy="561818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Detect message delay</a:t>
          </a:r>
          <a:endParaRPr lang="en-US" sz="1600" kern="1200" dirty="0"/>
        </a:p>
      </dsp:txBody>
      <dsp:txXfrm>
        <a:off x="407316" y="4409205"/>
        <a:ext cx="1345284" cy="561818"/>
      </dsp:txXfrm>
    </dsp:sp>
    <dsp:sp modelId="{F0ED6141-24DB-4164-A2D4-B51E750525CD}">
      <dsp:nvSpPr>
        <dsp:cNvPr id="0" name=""/>
        <dsp:cNvSpPr/>
      </dsp:nvSpPr>
      <dsp:spPr>
        <a:xfrm>
          <a:off x="2133596" y="1022842"/>
          <a:ext cx="909363" cy="454681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Resist/ Prevent</a:t>
          </a:r>
          <a:endParaRPr lang="en-US" sz="1800" kern="1200" dirty="0"/>
        </a:p>
      </dsp:txBody>
      <dsp:txXfrm>
        <a:off x="2133596" y="1022842"/>
        <a:ext cx="909363" cy="454681"/>
      </dsp:txXfrm>
    </dsp:sp>
    <dsp:sp modelId="{CBCDE87F-FA6C-44B8-A9C2-1E747BE7F736}">
      <dsp:nvSpPr>
        <dsp:cNvPr id="0" name=""/>
        <dsp:cNvSpPr/>
      </dsp:nvSpPr>
      <dsp:spPr>
        <a:xfrm>
          <a:off x="2317197" y="2001744"/>
          <a:ext cx="1188874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dentify actors</a:t>
          </a:r>
          <a:endParaRPr lang="en-US" sz="1600" kern="1200" dirty="0"/>
        </a:p>
      </dsp:txBody>
      <dsp:txXfrm>
        <a:off x="2317197" y="2001744"/>
        <a:ext cx="1188874" cy="454681"/>
      </dsp:txXfrm>
    </dsp:sp>
    <dsp:sp modelId="{5D0F02D1-4A23-4B53-AF4F-3529BE69829E}">
      <dsp:nvSpPr>
        <dsp:cNvPr id="0" name=""/>
        <dsp:cNvSpPr/>
      </dsp:nvSpPr>
      <dsp:spPr>
        <a:xfrm>
          <a:off x="2317197" y="2528229"/>
          <a:ext cx="1573789" cy="602057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Authenticate and authorize actors</a:t>
          </a:r>
          <a:endParaRPr lang="en-US" sz="1600" kern="1200" dirty="0"/>
        </a:p>
      </dsp:txBody>
      <dsp:txXfrm>
        <a:off x="2317197" y="2528229"/>
        <a:ext cx="1573789" cy="602057"/>
      </dsp:txXfrm>
    </dsp:sp>
    <dsp:sp modelId="{7BABB840-5689-4566-85C9-55C4A127C4C6}">
      <dsp:nvSpPr>
        <dsp:cNvPr id="0" name=""/>
        <dsp:cNvSpPr/>
      </dsp:nvSpPr>
      <dsp:spPr>
        <a:xfrm>
          <a:off x="2317197" y="3293021"/>
          <a:ext cx="1379312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Limit access and exposure</a:t>
          </a:r>
          <a:endParaRPr lang="en-US" sz="1600" kern="1200" dirty="0"/>
        </a:p>
      </dsp:txBody>
      <dsp:txXfrm>
        <a:off x="2317197" y="3293021"/>
        <a:ext cx="1379312" cy="454681"/>
      </dsp:txXfrm>
    </dsp:sp>
    <dsp:sp modelId="{50D60845-A14B-4DD0-8DB4-8B07FEB31A21}">
      <dsp:nvSpPr>
        <dsp:cNvPr id="0" name=""/>
        <dsp:cNvSpPr/>
      </dsp:nvSpPr>
      <dsp:spPr>
        <a:xfrm>
          <a:off x="2317197" y="3964918"/>
          <a:ext cx="1488818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Maintain data confidentiality</a:t>
          </a:r>
          <a:endParaRPr lang="en-US" sz="1600" kern="1200" dirty="0"/>
        </a:p>
      </dsp:txBody>
      <dsp:txXfrm>
        <a:off x="2317197" y="3964918"/>
        <a:ext cx="1488818" cy="454681"/>
      </dsp:txXfrm>
    </dsp:sp>
    <dsp:sp modelId="{BD1C35E1-9751-4DD4-B9AF-1CFE8C8B4E70}">
      <dsp:nvSpPr>
        <dsp:cNvPr id="0" name=""/>
        <dsp:cNvSpPr/>
      </dsp:nvSpPr>
      <dsp:spPr>
        <a:xfrm>
          <a:off x="2317197" y="4574518"/>
          <a:ext cx="1645201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hange default setting</a:t>
          </a:r>
          <a:endParaRPr lang="en-US" sz="1600" kern="1200" dirty="0"/>
        </a:p>
      </dsp:txBody>
      <dsp:txXfrm>
        <a:off x="2317197" y="4574518"/>
        <a:ext cx="1645201" cy="454681"/>
      </dsp:txXfrm>
    </dsp:sp>
    <dsp:sp modelId="{A5F2589C-C16C-45F2-9A3D-F2A6CB2476D1}">
      <dsp:nvSpPr>
        <dsp:cNvPr id="0" name=""/>
        <dsp:cNvSpPr/>
      </dsp:nvSpPr>
      <dsp:spPr>
        <a:xfrm>
          <a:off x="4202470" y="1047172"/>
          <a:ext cx="1060026" cy="454681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React</a:t>
          </a:r>
          <a:endParaRPr lang="en-US" sz="1800" kern="1200" dirty="0"/>
        </a:p>
      </dsp:txBody>
      <dsp:txXfrm>
        <a:off x="4202470" y="1047172"/>
        <a:ext cx="1060026" cy="454681"/>
      </dsp:txXfrm>
    </dsp:sp>
    <dsp:sp modelId="{6E033C69-6BA8-4812-AE4E-0022A986E944}">
      <dsp:nvSpPr>
        <dsp:cNvPr id="0" name=""/>
        <dsp:cNvSpPr/>
      </dsp:nvSpPr>
      <dsp:spPr>
        <a:xfrm>
          <a:off x="4588004" y="2082059"/>
          <a:ext cx="909363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Revoke access</a:t>
          </a:r>
          <a:endParaRPr lang="en-US" sz="1600" kern="1200" dirty="0"/>
        </a:p>
      </dsp:txBody>
      <dsp:txXfrm>
        <a:off x="4588004" y="2082059"/>
        <a:ext cx="909363" cy="454681"/>
      </dsp:txXfrm>
    </dsp:sp>
    <dsp:sp modelId="{428A54D9-43F6-47B6-B3A2-FDCE09CB5A97}">
      <dsp:nvSpPr>
        <dsp:cNvPr id="0" name=""/>
        <dsp:cNvSpPr/>
      </dsp:nvSpPr>
      <dsp:spPr>
        <a:xfrm>
          <a:off x="4588004" y="2727706"/>
          <a:ext cx="909363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Lock system</a:t>
          </a:r>
          <a:endParaRPr lang="en-US" sz="1600" kern="1200" dirty="0"/>
        </a:p>
      </dsp:txBody>
      <dsp:txXfrm>
        <a:off x="4588004" y="2727706"/>
        <a:ext cx="909363" cy="454681"/>
      </dsp:txXfrm>
    </dsp:sp>
    <dsp:sp modelId="{93507A0E-B606-4F7A-9C01-283769128FF2}">
      <dsp:nvSpPr>
        <dsp:cNvPr id="0" name=""/>
        <dsp:cNvSpPr/>
      </dsp:nvSpPr>
      <dsp:spPr>
        <a:xfrm>
          <a:off x="4588004" y="3373354"/>
          <a:ext cx="909363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Alert actors</a:t>
          </a:r>
          <a:endParaRPr lang="en-US" sz="1600" kern="1200" dirty="0"/>
        </a:p>
      </dsp:txBody>
      <dsp:txXfrm>
        <a:off x="4588004" y="3373354"/>
        <a:ext cx="909363" cy="454681"/>
      </dsp:txXfrm>
    </dsp:sp>
    <dsp:sp modelId="{67A44139-B3F0-4118-89E8-A44A0D503C36}">
      <dsp:nvSpPr>
        <dsp:cNvPr id="0" name=""/>
        <dsp:cNvSpPr/>
      </dsp:nvSpPr>
      <dsp:spPr>
        <a:xfrm>
          <a:off x="6346316" y="1025361"/>
          <a:ext cx="909363" cy="454681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Recover</a:t>
          </a:r>
          <a:endParaRPr lang="en-US" sz="1800" kern="1200" dirty="0"/>
        </a:p>
      </dsp:txBody>
      <dsp:txXfrm>
        <a:off x="6346316" y="1025361"/>
        <a:ext cx="909363" cy="454681"/>
      </dsp:txXfrm>
    </dsp:sp>
    <dsp:sp modelId="{1B4F947A-69EB-46FF-A1EA-7664283D213E}">
      <dsp:nvSpPr>
        <dsp:cNvPr id="0" name=""/>
        <dsp:cNvSpPr/>
      </dsp:nvSpPr>
      <dsp:spPr>
        <a:xfrm>
          <a:off x="6862999" y="2205673"/>
          <a:ext cx="1519000" cy="631752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u="none" kern="1200" dirty="0" smtClean="0"/>
            <a:t>Maintain Audit trail</a:t>
          </a:r>
          <a:endParaRPr lang="en-US" sz="1600" b="0" u="none" kern="1200" dirty="0"/>
        </a:p>
      </dsp:txBody>
      <dsp:txXfrm>
        <a:off x="6862999" y="2205673"/>
        <a:ext cx="1519000" cy="631752"/>
      </dsp:txXfrm>
    </dsp:sp>
    <dsp:sp modelId="{78B1DB83-1FBB-4B72-AADA-6CBB1DAEF356}">
      <dsp:nvSpPr>
        <dsp:cNvPr id="0" name=""/>
        <dsp:cNvSpPr/>
      </dsp:nvSpPr>
      <dsp:spPr>
        <a:xfrm>
          <a:off x="6096000" y="3144745"/>
          <a:ext cx="1661088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Restore</a:t>
          </a:r>
          <a:endParaRPr lang="en-US" sz="1600" kern="1200" dirty="0"/>
        </a:p>
      </dsp:txBody>
      <dsp:txXfrm>
        <a:off x="6096000" y="3144745"/>
        <a:ext cx="1661088" cy="454681"/>
      </dsp:txXfrm>
    </dsp:sp>
    <dsp:sp modelId="{43C79B55-7800-4403-B3B4-49E5363FFF1E}">
      <dsp:nvSpPr>
        <dsp:cNvPr id="0" name=""/>
        <dsp:cNvSpPr/>
      </dsp:nvSpPr>
      <dsp:spPr>
        <a:xfrm>
          <a:off x="6423492" y="4087122"/>
          <a:ext cx="1626386" cy="454681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Use availability tactics</a:t>
          </a:r>
          <a:endParaRPr lang="en-US" sz="1600" kern="1200" dirty="0"/>
        </a:p>
      </dsp:txBody>
      <dsp:txXfrm>
        <a:off x="6423492" y="4087122"/>
        <a:ext cx="1626386" cy="45468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7">
  <dgm:title val=""/>
  <dgm:desc val=""/>
  <dgm:catLst>
    <dgm:cat type="process" pri="21000"/>
    <dgm:cat type="lis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Node" refType="h"/>
      <dgm:constr type="w" for="ch" forName="compositeNode" refType="w"/>
      <dgm:constr type="w" for="ch" forName="hSp" refType="w" refFor="ch" refForName="compositeNode" fact="-0.035"/>
      <dgm:constr type="w" for="des" forName="simulatedConn" refType="w" refFor="ch" refForName="compositeNode" fact="0.15"/>
      <dgm:constr type="h" for="des" forName="simulatedConn" refType="w" refFor="des" refForName="simulatedConn"/>
      <dgm:constr type="h" for="des" forName="vSp1" refType="w" refFor="ch" refForName="compositeNode" fact="0.8"/>
      <dgm:constr type="h" for="des" forName="vSp2" refType="w" refFor="ch" refForName="compositeNode" fact="0.07"/>
      <dgm:constr type="w" for="ch" forName="vProcSp" refType="w" refFor="des" refForName="simulatedConn" op="equ"/>
      <dgm:constr type="h" for="ch" forName="vProcSp" refType="h" refFor="ch" refForName="compositeNode" op="equ"/>
      <dgm:constr type="w" for="ch" forName="sibTrans" refType="w" refFor="ch" refForName="compositeNode" fact="-0.08"/>
      <dgm:constr type="primFontSz" for="des" forName="parentNode" op="equ"/>
      <dgm:constr type="primFontSz" for="des" forName="childNode" op="equ"/>
    </dgm:constrLst>
    <dgm:ruleLst/>
    <dgm:forEach name="Name4" axis="ch" ptType="node">
      <dgm:layoutNode name="compositeNode">
        <dgm:varLst>
          <dgm:bulletEnabled val="1"/>
        </dgm:varLst>
        <dgm:alg type="composite"/>
        <dgm:choose name="Name5">
          <dgm:if name="Name6" func="var" arg="dir" op="equ" val="norm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l" for="ch" forName="bgRect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l" for="ch" forName="parentNode"/>
              <dgm:constr type="r" for="ch" forName="childNode" refType="r" refFor="ch" refForName="bgRect" fact="0.945"/>
              <dgm:constr type="h" for="ch" forName="childNode" refType="h" refFor="ch" refForName="bgRect" op="equ"/>
              <dgm:constr type="t" for="ch" forName="childNode"/>
              <dgm:constr type="l" for="ch" forName="childNode" refType="r" refFor="ch" refForName="parentNode"/>
            </dgm:constrLst>
          </dgm:if>
          <dgm:else name="Name7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r" for="ch" forName="bgRect" refType="w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r" for="ch" forName="parentNode" refType="w"/>
              <dgm:constr type="h" for="ch" forName="childNode" refType="h" refFor="ch" refForName="bgRect"/>
              <dgm:constr type="t" for="ch" forName="childNode"/>
              <dgm:constr type="r" for="ch" forName="childNode" refType="l" refFor="ch" refForName="parentNode"/>
              <dgm:constr type="l" for="ch" forName="childNode" refType="w" refFor="ch" refForName="bgRect" fact="0.055"/>
            </dgm:constrLst>
          </dgm:else>
        </dgm:choose>
        <dgm:ruleLst>
          <dgm:rule type="w" for="ch" forName="childNode" val="NaN" fact="NaN" max="30"/>
        </dgm:ruleLst>
        <dgm:layoutNode name="bgRect" styleLbl="node1">
          <dgm:alg type="sp"/>
          <dgm:shape xmlns:r="http://schemas.openxmlformats.org/officeDocument/2006/relationships" type="roundRect" r:blip="" zOrderOff="-1">
            <dgm:adjLst>
              <dgm:adj idx="1" val="0.05"/>
            </dgm:adjLst>
          </dgm:shape>
          <dgm:presOf axis="self"/>
          <dgm:constrLst/>
          <dgm:ruleLst/>
        </dgm:layoutNode>
        <dgm:layoutNode name="parentNode" styleLbl="node1">
          <dgm:varLst>
            <dgm:chMax val="0"/>
            <dgm:bulletEnabled val="1"/>
          </dgm:varLst>
          <dgm:choose name="Name8">
            <dgm:if name="Name9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 hideGeom="1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35"/>
                <dgm:constr type="tMarg" refType="primFontSz" fact="0.27"/>
                <dgm:constr type="bMarg"/>
              </dgm:constrLst>
            </dgm:if>
            <dgm:else name="Name10">
              <dgm:alg type="tx">
                <dgm:param type="autoTxRot" val="grav"/>
                <dgm:param type="txAnchorVert" val="t"/>
                <dgm:param type="parTxLTRAlign" val="l"/>
                <dgm:param type="parTxRTLAlign" val="l"/>
              </dgm:alg>
              <dgm:shape xmlns:r="http://schemas.openxmlformats.org/officeDocument/2006/relationships" rot="90" type="rect" r:blip="" hideGeom="1">
                <dgm:adjLst/>
              </dgm:shape>
              <dgm:presOf axis="self"/>
              <dgm:constrLst>
                <dgm:constr type="primFontSz" val="65"/>
                <dgm:constr type="lMarg" refType="primFontSz" fact="0.35"/>
                <dgm:constr type="rMarg"/>
                <dgm:constr type="tMarg" refType="primFontSz" fact="0.27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choose name="Name11">
          <dgm:if name="Name12" axis="ch" ptType="node" func="cnt" op="gte" val="1">
            <dgm:layoutNode name="childNode" styleLbl="node1" moveWith="bgRect">
              <dgm:varLst>
                <dgm:bulletEnabled val="1"/>
              </dgm:varLst>
              <dgm:alg type="tx">
                <dgm:param type="parTxLTRAlign" val="l"/>
                <dgm:param type="parTxRTLAlign" val="r"/>
                <dgm:param type="txAnchorVert" val="t"/>
              </dgm:alg>
              <dgm:shape xmlns:r="http://schemas.openxmlformats.org/officeDocument/2006/relationships" type="rect" r:blip="" hideGeom="1">
                <dgm:adjLst/>
              </dgm:shape>
              <dgm:presOf axis="des" ptType="node"/>
              <dgm:constrLst>
                <dgm:constr type="primFontSz" val="65"/>
                <dgm:constr type="lMarg"/>
                <dgm:constr type="bMarg"/>
                <dgm:constr type="tMarg" refType="primFontSz" fact="0.27"/>
                <dgm:constr type="rMarg"/>
              </dgm:constrLst>
              <dgm:ruleLst>
                <dgm:rule type="prim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h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vProcSp" moveWith="bgRec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vSp1" refType="w"/>
            <dgm:constr type="w" for="ch" forName="simulatedConn" refType="w"/>
            <dgm:constr type="w" for="ch" forName="vSp2" refType="w"/>
          </dgm:constrLst>
          <dgm:ruleLst/>
          <dgm:layoutNode name="vSp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imulatedConn" styleLbl="solidFgAcc1">
            <dgm:alg type="sp"/>
            <dgm:choose name="Name15">
              <dgm:if name="Name16" func="var" arg="dir" op="equ" val="norm">
                <dgm:shape xmlns:r="http://schemas.openxmlformats.org/officeDocument/2006/relationships" rot="90" type="flowChartExtract" r:blip="">
                  <dgm:adjLst/>
                </dgm:shape>
              </dgm:if>
              <dgm:else name="Name17">
                <dgm:shape xmlns:r="http://schemas.openxmlformats.org/officeDocument/2006/relationships" rot="-90" type="flowChartExtract" r:blip="">
                  <dgm:adjLst/>
                </dgm:shape>
              </dgm:else>
            </dgm:choose>
            <dgm:presOf/>
            <dgm:constrLst/>
            <dgm:ruleLst/>
          </dgm:layoutNode>
          <dgm:layoutNode name="vSp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5/27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6D13BD-4742-4A2D-88DE-6ACD5EA17108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19377574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3.jpeg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4F724D-0587-459F-80C6-ACE2A0F5DCA5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17989F-96F8-4C2A-A28D-94FCCC1940DA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F10C15-23EC-46C7-9524-4C66D075A074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2723" name="think-cell Slide" r:id="rId7" imgW="6350000" imgH="635000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dirty="0" smtClean="0"/>
              <a:t>SS ZG653   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032E01-4605-43DE-8129-F995C1DEBCA8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C06C02-BCC5-4A57-BC46-5D7727BB0BB3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D11779-2D67-471C-9D95-BAB168EA2A5D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C0A3B0-6CFD-479E-9059-45686EAA74E3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ABF2EF-6CA8-4AF8-B29C-E9AEB937B93E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66454D-1367-437C-AA78-A7B95DE4A7F6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29A701-612E-4460-A741-54FD35FA20A7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D3938D-3E5E-431C-9A8D-F7083632C994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84B85C3-2DF3-4152-A050-1FA9CFF3C691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4" Type="http://schemas.openxmlformats.org/officeDocument/2006/relationships/diagramQuickStyle" Target="../diagrams/quickStyle3.xml"/><Relationship Id="rId5" Type="http://schemas.openxmlformats.org/officeDocument/2006/relationships/diagramColors" Target="../diagrams/colors3.xml"/><Relationship Id="rId6" Type="http://schemas.microsoft.com/office/2007/relationships/diagramDrawing" Target="../diagrams/drawing3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 (RL 6.1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Security and Its Tactics</a:t>
            </a:r>
            <a:endParaRPr lang="en-GB" sz="36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act to Attac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Revoke Access: limit access to </a:t>
            </a:r>
            <a:r>
              <a:rPr lang="en-US" dirty="0"/>
              <a:t>sensitive resources, even for normally legitimate users and </a:t>
            </a:r>
            <a:r>
              <a:rPr lang="en-US" dirty="0" smtClean="0"/>
              <a:t>uses, if an attack is suspected. </a:t>
            </a:r>
          </a:p>
          <a:p>
            <a:pPr lvl="0"/>
            <a:r>
              <a:rPr lang="en-US" dirty="0" smtClean="0"/>
              <a:t>Lock Computer: </a:t>
            </a:r>
            <a:r>
              <a:rPr lang="en-US" dirty="0"/>
              <a:t>limit access </a:t>
            </a:r>
            <a:r>
              <a:rPr lang="en-US" dirty="0" smtClean="0"/>
              <a:t>to a resource if </a:t>
            </a:r>
            <a:r>
              <a:rPr lang="en-US" dirty="0"/>
              <a:t>there are repeated failed attempts to access </a:t>
            </a:r>
            <a:r>
              <a:rPr lang="en-US" dirty="0" smtClean="0"/>
              <a:t>it.</a:t>
            </a:r>
          </a:p>
          <a:p>
            <a:pPr lvl="0"/>
            <a:r>
              <a:rPr lang="en-US" dirty="0" smtClean="0"/>
              <a:t>Inform Actors: notify operators</a:t>
            </a:r>
            <a:r>
              <a:rPr lang="en-US" dirty="0"/>
              <a:t>, other personnel, or cooperating </a:t>
            </a:r>
            <a:r>
              <a:rPr lang="en-US" dirty="0" smtClean="0"/>
              <a:t>systems when an attack is suspected or detected.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6D27E5B-2950-4F2A-B557-4578B384DF08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7345919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cover From Attac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In addition to the Availability tactics for recovery of failed resources there is Audit.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Audit: </a:t>
            </a:r>
            <a:r>
              <a:rPr lang="en-US" dirty="0"/>
              <a:t>keep a record of user and system actions and their effects, to help trace the actions of, and to identify, an attacker</a:t>
            </a:r>
            <a:r>
              <a:rPr lang="en-US" dirty="0" smtClean="0"/>
              <a:t>.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A34102E-43DE-4D30-AB50-156F5794ED89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724706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Design Checklist- Allocation of Responsibiliti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lvl="0"/>
            <a:r>
              <a:rPr lang="en-US" dirty="0" smtClean="0"/>
              <a:t>Identify the services that needs to be secured</a:t>
            </a:r>
          </a:p>
          <a:p>
            <a:pPr lvl="1"/>
            <a:r>
              <a:rPr lang="en-US" dirty="0" smtClean="0"/>
              <a:t>Identify the modules, subsystems offering these services</a:t>
            </a:r>
          </a:p>
          <a:p>
            <a:r>
              <a:rPr lang="en-US" dirty="0" smtClean="0"/>
              <a:t>For each such service</a:t>
            </a:r>
          </a:p>
          <a:p>
            <a:pPr lvl="1"/>
            <a:r>
              <a:rPr lang="en-US" dirty="0" smtClean="0"/>
              <a:t>Identify actors which can access this service, and implement authentication and level of authorization for those</a:t>
            </a:r>
          </a:p>
          <a:p>
            <a:pPr lvl="1"/>
            <a:r>
              <a:rPr lang="en-US" dirty="0"/>
              <a:t>verify checksums and hash values</a:t>
            </a:r>
            <a:endParaRPr lang="en-US" dirty="0" smtClean="0"/>
          </a:p>
          <a:p>
            <a:pPr lvl="1"/>
            <a:r>
              <a:rPr lang="en-US" dirty="0" smtClean="0"/>
              <a:t>Allow/deny data associated with this service for these actors</a:t>
            </a:r>
            <a:endParaRPr lang="en-US" dirty="0"/>
          </a:p>
          <a:p>
            <a:pPr lvl="1"/>
            <a:r>
              <a:rPr lang="en-US" dirty="0" smtClean="0"/>
              <a:t>record </a:t>
            </a:r>
            <a:r>
              <a:rPr lang="en-US" dirty="0"/>
              <a:t>attempts to access or modify data or services</a:t>
            </a:r>
          </a:p>
          <a:p>
            <a:pPr lvl="1"/>
            <a:r>
              <a:rPr lang="en-US" dirty="0" smtClean="0"/>
              <a:t>Encrypt data that are sensitive</a:t>
            </a:r>
            <a:endParaRPr lang="en-US" dirty="0"/>
          </a:p>
          <a:p>
            <a:pPr lvl="1"/>
            <a:r>
              <a:rPr lang="en-US" dirty="0" smtClean="0"/>
              <a:t>Implement a mechanism to recognize </a:t>
            </a:r>
            <a:r>
              <a:rPr lang="en-US" dirty="0"/>
              <a:t>reduced availability for </a:t>
            </a:r>
            <a:r>
              <a:rPr lang="en-US" dirty="0" smtClean="0"/>
              <a:t>this services </a:t>
            </a:r>
          </a:p>
          <a:p>
            <a:pPr lvl="1"/>
            <a:r>
              <a:rPr lang="en-US" dirty="0" smtClean="0"/>
              <a:t>Implement notification and alert mechanism</a:t>
            </a:r>
            <a:endParaRPr lang="en-US" dirty="0"/>
          </a:p>
          <a:p>
            <a:pPr lvl="1"/>
            <a:r>
              <a:rPr lang="en-US" dirty="0" smtClean="0"/>
              <a:t>Implement recover </a:t>
            </a:r>
            <a:r>
              <a:rPr lang="en-US" dirty="0"/>
              <a:t>from an </a:t>
            </a:r>
            <a:r>
              <a:rPr lang="en-US" dirty="0" smtClean="0"/>
              <a:t>attack mechanism</a:t>
            </a:r>
            <a:endParaRPr lang="en-US" dirty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D5CA9A3-1D2F-4666-A65F-FE384A878821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10621545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bldLvl="2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>
            <a:normAutofit/>
          </a:bodyPr>
          <a:lstStyle/>
          <a:p>
            <a:r>
              <a:rPr lang="en-US" dirty="0" smtClean="0"/>
              <a:t>Design Checklist- Manage Dat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lvl="0"/>
            <a:r>
              <a:rPr lang="en-US" dirty="0"/>
              <a:t>Determine the sensitivity of different data </a:t>
            </a:r>
            <a:r>
              <a:rPr lang="en-US" dirty="0" smtClean="0"/>
              <a:t>fields</a:t>
            </a:r>
            <a:endParaRPr lang="en-US" dirty="0"/>
          </a:p>
          <a:p>
            <a:pPr lvl="0"/>
            <a:r>
              <a:rPr lang="en-US" dirty="0"/>
              <a:t>Ensure that data of different sensitivity is </a:t>
            </a:r>
            <a:r>
              <a:rPr lang="en-US" dirty="0" smtClean="0"/>
              <a:t>separated</a:t>
            </a:r>
            <a:endParaRPr lang="en-US" dirty="0"/>
          </a:p>
          <a:p>
            <a:pPr lvl="0"/>
            <a:r>
              <a:rPr lang="en-US" dirty="0"/>
              <a:t>Ensure that data of different sensitivity has different access rights and that access rights are checked prior to access.</a:t>
            </a:r>
          </a:p>
          <a:p>
            <a:pPr lvl="0"/>
            <a:r>
              <a:rPr lang="en-US" dirty="0"/>
              <a:t>Ensure that access to sensitive data is logged and that the log file is suitably protected.</a:t>
            </a:r>
          </a:p>
          <a:p>
            <a:pPr lvl="0"/>
            <a:r>
              <a:rPr lang="en-US" dirty="0"/>
              <a:t>Ensure that data is suitably encrypted and that keys are separated from the encrypted data.</a:t>
            </a:r>
          </a:p>
          <a:p>
            <a:pPr lvl="0"/>
            <a:r>
              <a:rPr lang="en-US" dirty="0"/>
              <a:t>Ensure that data can be restored if it is inappropriately modified.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0CC7073-5B24-462B-B613-AAF5B7201413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24874576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Design Checklist- Manage Coordin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For inter-system communication (applied for people also)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Ensure that mechanisms </a:t>
            </a:r>
            <a:r>
              <a:rPr lang="en-US" dirty="0"/>
              <a:t>for authenticating and authorizing the actor or system, and encrypting data for transmission across the connection are in place. </a:t>
            </a:r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Monitor communication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Monitor anomalous communication such as</a:t>
            </a:r>
          </a:p>
          <a:p>
            <a:pPr marL="800100" lvl="2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unexpectedly </a:t>
            </a:r>
            <a:r>
              <a:rPr lang="en-US" dirty="0"/>
              <a:t>high demands for resources or services </a:t>
            </a:r>
            <a:endParaRPr lang="en-US" dirty="0" smtClean="0"/>
          </a:p>
          <a:p>
            <a:pPr marL="800100" lvl="2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Unusual access pattern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Mechanisms </a:t>
            </a:r>
            <a:r>
              <a:rPr lang="en-US" dirty="0"/>
              <a:t>for restricting or terminating the connection.</a:t>
            </a:r>
            <a:endParaRPr lang="en-US" dirty="0">
              <a:latin typeface="Times"/>
              <a:ea typeface="Times New Roman"/>
              <a:cs typeface="Times New Roman"/>
            </a:endParaRPr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F03D958-11ED-4DA3-9CFE-1D95551F1BBE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2353914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>
            <a:normAutofit/>
          </a:bodyPr>
          <a:lstStyle/>
          <a:p>
            <a:r>
              <a:rPr lang="en-US" dirty="0" smtClean="0"/>
              <a:t>Design Checklist- Manage Resour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Define appropriate grant or denial of resources </a:t>
            </a:r>
          </a:p>
          <a:p>
            <a:pPr marL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Record access attempts to resources</a:t>
            </a:r>
          </a:p>
          <a:p>
            <a:pPr marL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Encrypt data</a:t>
            </a:r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Monitor resource utilization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Log   </a:t>
            </a:r>
            <a:endParaRPr lang="en-US" dirty="0"/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Identify suddenly high demand to a particular resource- for instance high CPU utilization at an </a:t>
            </a:r>
            <a:r>
              <a:rPr lang="en-US" dirty="0" smtClean="0"/>
              <a:t>unusual </a:t>
            </a:r>
            <a:r>
              <a:rPr lang="en-US" dirty="0"/>
              <a:t>time</a:t>
            </a:r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Ensure that a contaminated element can be prevented from contaminating other elements.</a:t>
            </a:r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Ensure that shared resources are not used for passing sensitive data from an actor with access rights to that data to an actor without access rights.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.</a:t>
            </a:r>
            <a:endParaRPr lang="en-US" dirty="0" smtClean="0">
              <a:latin typeface="Times"/>
              <a:ea typeface="Times New Roman"/>
              <a:cs typeface="Times New Roman"/>
            </a:endParaRPr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96E0687-2C57-44D6-9726-2301AB12BC39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2887805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/>
          <a:lstStyle/>
          <a:p>
            <a:r>
              <a:rPr lang="en-US" dirty="0" smtClean="0"/>
              <a:t>Design checklist- Bind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Runtime binding of components can be untrusted. Determine the following</a:t>
            </a:r>
            <a:endParaRPr lang="en-US" dirty="0"/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Based on situation implement certificate based authentication for a component</a:t>
            </a:r>
          </a:p>
          <a:p>
            <a:pPr marL="800100" lvl="2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Implement certification management, validation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Define access rules for components that are dynamically bound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Implement audit trail for whenever a late bound component tries to access records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System </a:t>
            </a:r>
            <a:r>
              <a:rPr lang="en-US" dirty="0"/>
              <a:t>data </a:t>
            </a:r>
            <a:r>
              <a:rPr lang="en-US" dirty="0" smtClean="0"/>
              <a:t>should be </a:t>
            </a:r>
            <a:r>
              <a:rPr lang="en-US" dirty="0"/>
              <a:t>encrypted where the keys are intentionally withheld for late bound components</a:t>
            </a:r>
            <a:endParaRPr lang="en-US" dirty="0">
              <a:latin typeface="Times"/>
              <a:ea typeface="Times New Roman"/>
              <a:cs typeface="Times New Roman"/>
            </a:endParaRP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endParaRPr lang="en-US" dirty="0">
              <a:solidFill>
                <a:srgbClr val="000080"/>
              </a:solidFill>
              <a:latin typeface="Times"/>
              <a:ea typeface="Times New Roman"/>
              <a:cs typeface="Times New Roman"/>
            </a:endParaRP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E017C36-73DF-429D-9753-E720AEC92FD2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1218042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/>
          <a:lstStyle/>
          <a:p>
            <a:r>
              <a:rPr lang="en-US" smtClean="0"/>
              <a:t>Design </a:t>
            </a:r>
            <a:r>
              <a:rPr lang="en-US" dirty="0" smtClean="0"/>
              <a:t>Checklist- Technology choi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 smtClean="0"/>
              <a:t>Choice of technology is often governed by the organization mandate (enterprise architecture)</a:t>
            </a:r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endParaRPr lang="en-US" sz="2400" dirty="0" smtClean="0"/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2400" dirty="0" smtClean="0"/>
              <a:t>Decide tactics first. Based on the tactics, ensure </a:t>
            </a:r>
            <a:r>
              <a:rPr lang="en-US" sz="2400" dirty="0"/>
              <a:t>that your chosen technologies support the </a:t>
            </a:r>
            <a:r>
              <a:rPr lang="en-US" sz="2400" dirty="0" smtClean="0"/>
              <a:t>tactics</a:t>
            </a:r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endParaRPr lang="en-US" sz="2400" dirty="0" smtClean="0"/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2400" dirty="0" smtClean="0"/>
              <a:t>Determine </a:t>
            </a:r>
            <a:r>
              <a:rPr lang="en-US" sz="2400" dirty="0"/>
              <a:t>what </a:t>
            </a:r>
            <a:r>
              <a:rPr lang="en-US" sz="2400" dirty="0" smtClean="0"/>
              <a:t>technology </a:t>
            </a:r>
            <a:r>
              <a:rPr lang="en-US" sz="2400" dirty="0"/>
              <a:t>are available to help user authentication, data access rights, resource protection, data </a:t>
            </a:r>
            <a:r>
              <a:rPr lang="en-US" sz="2400" dirty="0" smtClean="0"/>
              <a:t>encryption</a:t>
            </a:r>
            <a:endParaRPr lang="en-US" sz="2400" dirty="0"/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2400" dirty="0"/>
              <a:t>Identify technology and tools for monitoring and alert</a:t>
            </a:r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endParaRPr lang="en-US" sz="2400" dirty="0">
              <a:latin typeface="Times"/>
              <a:ea typeface="Times New Roman"/>
              <a:cs typeface="Times New Roman"/>
            </a:endParaRPr>
          </a:p>
          <a:p>
            <a:pPr marL="25400" marR="0" indent="0">
              <a:lnSpc>
                <a:spcPct val="80000"/>
              </a:lnSpc>
              <a:spcBef>
                <a:spcPts val="500"/>
              </a:spcBef>
              <a:spcAft>
                <a:spcPts val="300"/>
              </a:spcAft>
              <a:buNone/>
              <a:tabLst>
                <a:tab pos="274320" algn="l"/>
              </a:tabLst>
            </a:pPr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A84062F-BF14-404E-81E5-8620B0C38E49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24499601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What is Security</a:t>
            </a:r>
            <a:endParaRPr lang="en-IN" altLang="en-US" dirty="0" smtClean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</p:nvPr>
        </p:nvGraphicFramePr>
        <p:xfrm>
          <a:off x="304800" y="1371600"/>
          <a:ext cx="8382000" cy="5029200"/>
        </p:xfrm>
        <a:graphic>
          <a:graphicData uri="http://schemas.openxmlformats.org/drawingml/2006/diagram">
            <a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EF9CA91-5A82-45E7-9BC8-F34F6F5F1534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16194230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2F388605-A345-204A-9E4B-28D3A38D251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33211614-1338-9643-BBE0-1571CD99DB0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25BD7C58-BD5D-8348-9F9B-A3B52122AD1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04FE1B9F-E17B-C84F-9145-04628248919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Sub>
          <a:bldDgm bld="one"/>
        </p:bldSub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ortant aspects of Security</a:t>
            </a:r>
            <a:endParaRPr lang="en-US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</p:nvPr>
        </p:nvGraphicFramePr>
        <p:xfrm>
          <a:off x="0" y="1295400"/>
          <a:ext cx="9144000" cy="5105400"/>
        </p:xfrm>
        <a:graphic>
          <a:graphicData uri="http://schemas.openxmlformats.org/drawingml/2006/diagram">
            <a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CD7C4ED-F2F9-469E-B0C7-E5FBD1EE9ACB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40044250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3C6B03D3-B558-D24C-9A50-B32C4D475D7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>
                                            <p:graphicEl>
                                              <a:dgm id="{3C6B03D3-B558-D24C-9A50-B32C4D475D7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516CD90F-10E0-7344-8A7D-E17D8C31353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7">
                                            <p:graphicEl>
                                              <a:dgm id="{516CD90F-10E0-7344-8A7D-E17D8C31353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D760B72C-FAEE-F247-AA70-3034A714237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7">
                                            <p:graphicEl>
                                              <a:dgm id="{D760B72C-FAEE-F247-AA70-3034A714237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9B427739-16C8-014B-9E87-7AA2D7879E7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7">
                                            <p:graphicEl>
                                              <a:dgm id="{9B427739-16C8-014B-9E87-7AA2D7879E7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1A2CB44A-DD69-9F43-92A3-47F1E7ED335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7">
                                            <p:graphicEl>
                                              <a:dgm id="{1A2CB44A-DD69-9F43-92A3-47F1E7ED335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Sub>
          <a:bldDgm bld="one"/>
        </p:bldSub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D19FC51-EAD2-410A-BD75-5CF7E4ABA158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curity Scenario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52400" y="2133600"/>
            <a:ext cx="1524000" cy="28194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WHO</a:t>
            </a:r>
            <a:endParaRPr lang="en-US" sz="1400" u="sng" dirty="0" smtClean="0">
              <a:solidFill>
                <a:schemeClr val="tx1"/>
              </a:solidFill>
            </a:endParaRPr>
          </a:p>
          <a:p>
            <a:pPr algn="ctr"/>
            <a:endParaRPr lang="en-US" sz="1000" u="sng" dirty="0" smtClean="0">
              <a:solidFill>
                <a:schemeClr val="tx1"/>
              </a:solidFill>
            </a:endParaRPr>
          </a:p>
          <a:p>
            <a:pPr marL="91440" indent="-91440">
              <a:buFont typeface="Arial" pitchFamily="34" charset="0"/>
              <a:buChar char="•"/>
              <a:defRPr/>
            </a:pPr>
            <a:r>
              <a:rPr lang="en-US" sz="1400" b="1" dirty="0" smtClean="0"/>
              <a:t>Individual or a system</a:t>
            </a:r>
          </a:p>
          <a:p>
            <a:pPr marL="91440" lvl="1" indent="-91440">
              <a:buFont typeface="Wingdings" panose="05000000000000000000" pitchFamily="2" charset="2"/>
              <a:buChar char="ü"/>
              <a:defRPr/>
            </a:pPr>
            <a:r>
              <a:rPr lang="en-US" sz="1200" dirty="0" smtClean="0"/>
              <a:t>Correctly identified OR </a:t>
            </a:r>
          </a:p>
          <a:p>
            <a:pPr marL="91440" lvl="1" indent="-91440">
              <a:buFont typeface="Wingdings" panose="05000000000000000000" pitchFamily="2" charset="2"/>
              <a:buChar char="ü"/>
              <a:defRPr/>
            </a:pPr>
            <a:r>
              <a:rPr lang="en-US" sz="1200" dirty="0" smtClean="0"/>
              <a:t>Incorrectly identified</a:t>
            </a:r>
          </a:p>
          <a:p>
            <a:pPr marL="91440" lvl="1" indent="-91440">
              <a:buFont typeface="Wingdings" panose="05000000000000000000" pitchFamily="2" charset="2"/>
              <a:buChar char="ü"/>
              <a:defRPr/>
            </a:pPr>
            <a:r>
              <a:rPr lang="en-US" sz="1200" dirty="0" smtClean="0"/>
              <a:t>OR unknown</a:t>
            </a:r>
            <a:endParaRPr lang="en-US" sz="1200" dirty="0"/>
          </a:p>
          <a:p>
            <a:pPr marL="91440" indent="-91440">
              <a:buFont typeface="Arial" pitchFamily="34" charset="0"/>
              <a:buChar char="•"/>
              <a:defRPr/>
            </a:pPr>
            <a:r>
              <a:rPr lang="en-US" sz="1400" b="1" dirty="0" smtClean="0"/>
              <a:t>Who is</a:t>
            </a:r>
          </a:p>
          <a:p>
            <a:pPr marL="91440" lvl="1" indent="-91440">
              <a:buFont typeface="Wingdings" panose="05000000000000000000" pitchFamily="2" charset="2"/>
              <a:buChar char="ü"/>
              <a:defRPr/>
            </a:pPr>
            <a:r>
              <a:rPr lang="en-US" sz="1200" dirty="0"/>
              <a:t>Internal or </a:t>
            </a:r>
            <a:r>
              <a:rPr lang="en-US" sz="1200" dirty="0" smtClean="0"/>
              <a:t>external</a:t>
            </a:r>
          </a:p>
          <a:p>
            <a:pPr marL="91440" lvl="1" indent="-91440">
              <a:buFont typeface="Wingdings" panose="05000000000000000000" pitchFamily="2" charset="2"/>
              <a:buChar char="ü"/>
              <a:defRPr/>
            </a:pPr>
            <a:r>
              <a:rPr lang="en-US" sz="1200" dirty="0" smtClean="0"/>
              <a:t>Authorized or </a:t>
            </a:r>
            <a:r>
              <a:rPr lang="en-US" sz="1200" dirty="0" err="1" smtClean="0"/>
              <a:t>unauthrized</a:t>
            </a:r>
            <a:endParaRPr lang="en-US" sz="1200" dirty="0"/>
          </a:p>
          <a:p>
            <a:pPr marL="91440" indent="-91440">
              <a:buFont typeface="Arial" pitchFamily="34" charset="0"/>
              <a:buChar char="•"/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Has access to</a:t>
            </a:r>
          </a:p>
          <a:p>
            <a:pPr marL="91440" lvl="1" indent="-91440">
              <a:buFont typeface="Wingdings" panose="05000000000000000000" pitchFamily="2" charset="2"/>
              <a:buChar char="ü"/>
              <a:defRPr/>
            </a:pPr>
            <a:r>
              <a:rPr lang="en-US" sz="1200" dirty="0" smtClean="0"/>
              <a:t>Limited </a:t>
            </a:r>
            <a:r>
              <a:rPr lang="en-US" sz="1200" dirty="0"/>
              <a:t>resource</a:t>
            </a:r>
          </a:p>
          <a:p>
            <a:pPr marL="91440" lvl="1" indent="-91440">
              <a:buFont typeface="Wingdings" panose="05000000000000000000" pitchFamily="2" charset="2"/>
              <a:buChar char="ü"/>
              <a:defRPr/>
            </a:pPr>
            <a:r>
              <a:rPr lang="en-US" sz="1200" dirty="0"/>
              <a:t>Vast resource</a:t>
            </a:r>
            <a:endParaRPr lang="en-IN" sz="1200" dirty="0"/>
          </a:p>
        </p:txBody>
      </p:sp>
      <p:sp>
        <p:nvSpPr>
          <p:cNvPr id="8" name="Rectangle 7"/>
          <p:cNvSpPr/>
          <p:nvPr/>
        </p:nvSpPr>
        <p:spPr>
          <a:xfrm>
            <a:off x="1828800" y="2133600"/>
            <a:ext cx="1600200" cy="281940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STIMULUS</a:t>
            </a:r>
          </a:p>
          <a:p>
            <a:endParaRPr lang="en-US" sz="1600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1600" b="1" dirty="0" smtClean="0"/>
              <a:t>Tries to</a:t>
            </a:r>
            <a:endParaRPr lang="en-US" sz="1600" b="1" dirty="0"/>
          </a:p>
          <a:p>
            <a:pPr marL="274320" lvl="1" indent="-91440">
              <a:buFont typeface="Wingdings" panose="05000000000000000000" pitchFamily="2" charset="2"/>
              <a:buChar char="ü"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Read data</a:t>
            </a:r>
            <a:endParaRPr lang="en-US" sz="1400" dirty="0">
              <a:solidFill>
                <a:schemeClr val="tx1"/>
              </a:solidFill>
            </a:endParaRPr>
          </a:p>
          <a:p>
            <a:pPr marL="274320" lvl="1" indent="-91440">
              <a:buFont typeface="Wingdings" panose="05000000000000000000" pitchFamily="2" charset="2"/>
              <a:buChar char="ü"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Change/delete data</a:t>
            </a:r>
          </a:p>
          <a:p>
            <a:pPr marL="274320" lvl="1" indent="-91440">
              <a:buFont typeface="Wingdings" panose="05000000000000000000" pitchFamily="2" charset="2"/>
              <a:buChar char="ü"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Access system services</a:t>
            </a:r>
            <a:endParaRPr lang="en-US" sz="1400" dirty="0">
              <a:solidFill>
                <a:schemeClr val="tx1"/>
              </a:solidFill>
            </a:endParaRPr>
          </a:p>
          <a:p>
            <a:pPr marL="274320" lvl="1" indent="-91440">
              <a:buFont typeface="Wingdings" panose="05000000000000000000" pitchFamily="2" charset="2"/>
              <a:buChar char="ü"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Reduce availability of servic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505200" y="2133600"/>
            <a:ext cx="1219200" cy="3071813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rIns="0" anchor="b" anchorCtr="1"/>
          <a:lstStyle/>
          <a:p>
            <a:pPr algn="ctr">
              <a:defRPr/>
            </a:pPr>
            <a:r>
              <a:rPr lang="en-US" sz="1600" u="sng" dirty="0" smtClean="0"/>
              <a:t>IMPACTED PART</a:t>
            </a:r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 smtClean="0"/>
              <a:t>Online/offline</a:t>
            </a:r>
            <a:endParaRPr lang="en-US" sz="1600" dirty="0"/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 smtClean="0"/>
              <a:t>Within firewall or Open</a:t>
            </a:r>
          </a:p>
        </p:txBody>
      </p:sp>
      <p:sp>
        <p:nvSpPr>
          <p:cNvPr id="10" name="Rectangle 9"/>
          <p:cNvSpPr/>
          <p:nvPr/>
        </p:nvSpPr>
        <p:spPr>
          <a:xfrm>
            <a:off x="4876799" y="1447800"/>
            <a:ext cx="2169225" cy="433173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MITIGATING ACTION</a:t>
            </a:r>
          </a:p>
          <a:p>
            <a:pPr algn="ctr"/>
            <a:endParaRPr lang="en-US" sz="1600" u="sng" dirty="0">
              <a:solidFill>
                <a:schemeClr val="tx1"/>
              </a:solidFill>
            </a:endParaRPr>
          </a:p>
          <a:p>
            <a:pPr marL="182880" lvl="2" indent="-91440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chemeClr val="tx1"/>
                </a:solidFill>
              </a:rPr>
              <a:t>Authentication</a:t>
            </a:r>
          </a:p>
          <a:p>
            <a:pPr marL="274320" lvl="3" indent="-91440"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chemeClr val="tx1"/>
                </a:solidFill>
              </a:rPr>
              <a:t>Authenticates</a:t>
            </a:r>
          </a:p>
          <a:p>
            <a:pPr marL="274320" lvl="3" indent="-91440"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chemeClr val="tx1"/>
                </a:solidFill>
              </a:rPr>
              <a:t>Hides identity</a:t>
            </a:r>
          </a:p>
          <a:p>
            <a:pPr marL="182880" lvl="2" indent="-91440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chemeClr val="tx1"/>
                </a:solidFill>
              </a:rPr>
              <a:t>Access control to data or services</a:t>
            </a:r>
          </a:p>
          <a:p>
            <a:pPr marL="274320" lvl="3" indent="-91440"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tx1"/>
                </a:solidFill>
              </a:rPr>
              <a:t>Blocks </a:t>
            </a:r>
            <a:r>
              <a:rPr lang="en-US" sz="1400" dirty="0" smtClean="0">
                <a:solidFill>
                  <a:schemeClr val="tx1"/>
                </a:solidFill>
              </a:rPr>
              <a:t>access</a:t>
            </a:r>
            <a:endParaRPr lang="en-US" sz="1400" dirty="0">
              <a:solidFill>
                <a:schemeClr val="tx1"/>
              </a:solidFill>
            </a:endParaRPr>
          </a:p>
          <a:p>
            <a:pPr marL="274320" lvl="3" indent="-91440"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chemeClr val="tx1"/>
                </a:solidFill>
              </a:rPr>
              <a:t>Grants/withdraws permission to access</a:t>
            </a:r>
            <a:endParaRPr lang="en-US" sz="1400" dirty="0">
              <a:solidFill>
                <a:schemeClr val="tx1"/>
              </a:solidFill>
            </a:endParaRPr>
          </a:p>
          <a:p>
            <a:pPr marL="274320" lvl="3" indent="-91440"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chemeClr val="tx1"/>
                </a:solidFill>
              </a:rPr>
              <a:t>Audits access/ modification attempts</a:t>
            </a:r>
            <a:endParaRPr lang="en-US" sz="1400" dirty="0">
              <a:solidFill>
                <a:schemeClr val="tx1"/>
              </a:solidFill>
            </a:endParaRPr>
          </a:p>
          <a:p>
            <a:pPr marL="182880" lvl="2" indent="-91440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chemeClr val="tx1"/>
                </a:solidFill>
              </a:rPr>
              <a:t>Corrective Actions</a:t>
            </a:r>
          </a:p>
          <a:p>
            <a:pPr marL="274320" lvl="3" indent="-91440"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chemeClr val="tx1"/>
                </a:solidFill>
              </a:rPr>
              <a:t>Encrypts data</a:t>
            </a:r>
            <a:endParaRPr lang="en-US" sz="1400" dirty="0">
              <a:solidFill>
                <a:schemeClr val="tx1"/>
              </a:solidFill>
            </a:endParaRPr>
          </a:p>
          <a:p>
            <a:pPr marL="274320" lvl="3" indent="-91440"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chemeClr val="tx1"/>
                </a:solidFill>
              </a:rPr>
              <a:t>Detect anomalous situation (high access req.) and informs people/another system</a:t>
            </a:r>
          </a:p>
          <a:p>
            <a:pPr marL="274320" lvl="3" indent="-91440"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chemeClr val="tx1"/>
                </a:solidFill>
              </a:rPr>
              <a:t>Restricts availability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162800" y="1447800"/>
            <a:ext cx="1828801" cy="433173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MEASURABLE RESPONSE</a:t>
            </a:r>
          </a:p>
          <a:p>
            <a:pPr algn="ctr"/>
            <a:endParaRPr lang="en-US" sz="1400" u="sng" dirty="0">
              <a:solidFill>
                <a:schemeClr val="tx1"/>
              </a:solidFill>
            </a:endParaRP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Time required to circumvent </a:t>
            </a:r>
            <a:r>
              <a:rPr lang="en-US" sz="1400" dirty="0">
                <a:solidFill>
                  <a:schemeClr val="tx1"/>
                </a:solidFill>
              </a:rPr>
              <a:t>security </a:t>
            </a:r>
            <a:r>
              <a:rPr lang="en-US" sz="1400" dirty="0" smtClean="0">
                <a:solidFill>
                  <a:schemeClr val="tx1"/>
                </a:solidFill>
              </a:rPr>
              <a:t>measure with </a:t>
            </a:r>
            <a:r>
              <a:rPr lang="en-US" sz="1400" dirty="0">
                <a:solidFill>
                  <a:schemeClr val="tx1"/>
                </a:solidFill>
              </a:rPr>
              <a:t>Probability of success </a:t>
            </a:r>
            <a:endParaRPr lang="en-US" sz="1400" dirty="0" smtClean="0">
              <a:solidFill>
                <a:schemeClr val="tx1"/>
              </a:solidFill>
            </a:endParaRP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Probability of detecting attack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Probability of detecting the individual responsible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%of services available during attack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Time to restore data/services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Extent of damage- how much data is vulnerable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No of access denial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633850" y="2808884"/>
            <a:ext cx="961900" cy="1142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ystem services, data</a:t>
            </a:r>
            <a:endParaRPr lang="en-IN" sz="1600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63286" y="5807280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n insider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1676400" y="5681667"/>
            <a:ext cx="17526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Updates payment details</a:t>
            </a:r>
            <a:endParaRPr lang="en-US" sz="1600" dirty="0"/>
          </a:p>
        </p:txBody>
      </p:sp>
      <p:sp>
        <p:nvSpPr>
          <p:cNvPr id="15" name="TextBox 14"/>
          <p:cNvSpPr txBox="1"/>
          <p:nvPr/>
        </p:nvSpPr>
        <p:spPr>
          <a:xfrm>
            <a:off x="4931228" y="5779532"/>
            <a:ext cx="211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Anomaly detected</a:t>
            </a:r>
          </a:p>
          <a:p>
            <a:r>
              <a:rPr lang="en-US" sz="1600" dirty="0" smtClean="0"/>
              <a:t>Audit trail maintained</a:t>
            </a:r>
            <a:endParaRPr lang="en-US" sz="1600" dirty="0"/>
          </a:p>
        </p:txBody>
      </p:sp>
      <p:sp>
        <p:nvSpPr>
          <p:cNvPr id="16" name="TextBox 15"/>
          <p:cNvSpPr txBox="1"/>
          <p:nvPr/>
        </p:nvSpPr>
        <p:spPr>
          <a:xfrm>
            <a:off x="7086599" y="5801219"/>
            <a:ext cx="18288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Corrective action taken in 1 day</a:t>
            </a:r>
            <a:endParaRPr lang="en-US" sz="1600" dirty="0"/>
          </a:p>
        </p:txBody>
      </p:sp>
      <p:sp>
        <p:nvSpPr>
          <p:cNvPr id="17" name="TextBox 16"/>
          <p:cNvSpPr txBox="1"/>
          <p:nvPr/>
        </p:nvSpPr>
        <p:spPr>
          <a:xfrm>
            <a:off x="3505200" y="5558557"/>
            <a:ext cx="1219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Pay database table</a:t>
            </a:r>
            <a:endParaRPr lang="en-US" sz="1600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1807424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/>
      <p:bldP spid="14" grpId="0"/>
      <p:bldP spid="15" grpId="0"/>
      <p:bldP spid="16" grpId="0"/>
      <p:bldP spid="1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/>
          <a:lstStyle/>
          <a:p>
            <a:r>
              <a:rPr lang="en-US" sz="4000" dirty="0" smtClean="0"/>
              <a:t>Security Tactics- Close to Physical Security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Detection:</a:t>
            </a:r>
          </a:p>
          <a:p>
            <a:pPr lvl="1"/>
            <a:r>
              <a:rPr lang="en-US" dirty="0" smtClean="0"/>
              <a:t>Limit the access through security checkpoints</a:t>
            </a:r>
          </a:p>
          <a:p>
            <a:pPr lvl="1"/>
            <a:r>
              <a:rPr lang="en-US" dirty="0" smtClean="0"/>
              <a:t>Enforces everyone to wear badges or checks legitimate visitors</a:t>
            </a:r>
          </a:p>
          <a:p>
            <a:r>
              <a:rPr lang="en-US" dirty="0" smtClean="0"/>
              <a:t>Resist</a:t>
            </a:r>
          </a:p>
          <a:p>
            <a:pPr lvl="1"/>
            <a:r>
              <a:rPr lang="en-US" dirty="0" smtClean="0"/>
              <a:t>Armed guards </a:t>
            </a:r>
          </a:p>
          <a:p>
            <a:r>
              <a:rPr lang="en-US" dirty="0" smtClean="0"/>
              <a:t>React</a:t>
            </a:r>
          </a:p>
          <a:p>
            <a:pPr lvl="1"/>
            <a:r>
              <a:rPr lang="en-US" dirty="0" smtClean="0"/>
              <a:t>Lock the door automatically</a:t>
            </a:r>
          </a:p>
          <a:p>
            <a:r>
              <a:rPr lang="en-US" dirty="0" smtClean="0"/>
              <a:t>Recover</a:t>
            </a:r>
          </a:p>
          <a:p>
            <a:pPr lvl="1"/>
            <a:r>
              <a:rPr lang="en-US" dirty="0" smtClean="0"/>
              <a:t>Keep backup of the data in a different plac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71AE830-EBDF-491E-A483-AA3FF30BED2C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2181346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curity Tactic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D6E3D62-2360-4BFB-819D-6F6C45A98EF0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graphicFrame>
        <p:nvGraphicFramePr>
          <p:cNvPr id="7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1160820752"/>
              </p:ext>
            </p:extLst>
          </p:nvPr>
        </p:nvGraphicFramePr>
        <p:xfrm>
          <a:off x="304800" y="1371600"/>
          <a:ext cx="8382000" cy="5105400"/>
        </p:xfrm>
        <a:graphic>
          <a:graphicData uri="http://schemas.openxmlformats.org/drawingml/2006/diagram">
            <a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4227271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1AD90FEA-3135-49C2-A3C0-CFEDDC6405B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A3BC68A0-CABF-4126-884C-C90818E1E26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5E5C4910-D5C2-4117-9825-0F4E2308A1D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96956835-3386-449C-A89B-65F7C680246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F0ED6141-24DB-4164-A2D4-B51E750525C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C137CAE9-66E1-459B-A733-9B53B02E07A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A5F2589C-C16C-45F2-9A3D-F2A6CB2476D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B562ECC0-9994-4B01-9E77-D5C13C49611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67A44139-B3F0-4118-89E8-A44A0D503C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A83ED5F7-10A0-45C9-B814-5804FA76917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1064D61A-5C37-497D-A6F5-6312AB6E3F5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A2B3E9C0-0CE1-4B88-9E71-F7CE1A7F99D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A77E27D0-EFD7-495B-9E1A-5A5371B8AB8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50C84909-550F-4BDC-8966-B86E5E1786A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984A4F3B-0A00-4E5A-9092-1922B8A7FAB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6262AD45-37CE-4E4E-81E1-98A75BFFED3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E8D3E92A-0794-4DFF-ADF5-83A9F9869BD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CC07306D-4BD7-4477-BB61-A954489058D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CBCDE87F-FA6C-44B8-A9C2-1E747BE7F7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FE10A4AF-D8A8-4F2D-9661-56E5DBB5B2C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5D0F02D1-4A23-4B53-AF4F-3529BE69829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1D4D3FE4-1739-4B3C-ACD2-597D18FBC50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7BABB840-5689-4566-85C9-55C4A127C4C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3A94D9E8-C2A3-4765-9477-D710CC64695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50D60845-A14B-4DD0-8DB4-8B07FEB31A2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6240857E-8E92-4FD3-BB54-32F6C167CD0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BD1C35E1-9751-4DD4-B9AF-1CFE8C8B4E7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AEDC7120-FE6F-49D8-95F2-AB1B2B6AC9A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6E033C69-6BA8-4812-AE4E-0022A986E94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28E82B1A-B1F2-4CC5-9B64-B60015CBF62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428A54D9-43F6-47B6-B3A2-FDCE09CB5A9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11628582-088E-42FA-B6EC-953F652565B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93507A0E-B606-4F7A-9C01-283769128FF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2BC6CEE4-3F67-4FA6-8639-65EC4CCFF4D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1B4F947A-69EB-46FF-A1EA-7664283D213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981682D2-6375-4500-994F-C7CC8359456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78B1DB83-1FBB-4B72-AADA-6CBB1DAEF35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AD70828E-DDD4-480C-BDFF-1E596F6615D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43C79B55-7800-4403-B3B4-49E5363FFF1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Sub>
          <a:bldDgm bld="lvlOne"/>
        </p:bldSub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etect Attac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lvl="0"/>
            <a:r>
              <a:rPr lang="en-US" sz="2500" dirty="0" smtClean="0"/>
              <a:t>Detect Intrusion: compare </a:t>
            </a:r>
            <a:r>
              <a:rPr lang="en-US" sz="2500" dirty="0"/>
              <a:t>network traffic or service request patterns </a:t>
            </a:r>
            <a:r>
              <a:rPr lang="en-US" sz="2500" i="1" dirty="0"/>
              <a:t>within</a:t>
            </a:r>
            <a:r>
              <a:rPr lang="en-US" sz="2500" dirty="0"/>
              <a:t> a system to </a:t>
            </a:r>
            <a:endParaRPr lang="en-US" sz="2500" dirty="0" smtClean="0"/>
          </a:p>
          <a:p>
            <a:pPr lvl="1"/>
            <a:r>
              <a:rPr lang="en-US" sz="2100" dirty="0" smtClean="0"/>
              <a:t>a </a:t>
            </a:r>
            <a:r>
              <a:rPr lang="en-US" sz="2100" dirty="0"/>
              <a:t>set of signatures or </a:t>
            </a:r>
            <a:endParaRPr lang="en-US" sz="2100" dirty="0" smtClean="0"/>
          </a:p>
          <a:p>
            <a:pPr lvl="1"/>
            <a:r>
              <a:rPr lang="en-US" sz="2100" dirty="0" smtClean="0"/>
              <a:t>known </a:t>
            </a:r>
            <a:r>
              <a:rPr lang="en-US" sz="2100" dirty="0"/>
              <a:t>patterns of malicious behavior stored in a database</a:t>
            </a:r>
            <a:r>
              <a:rPr lang="en-US" sz="2100" dirty="0" smtClean="0"/>
              <a:t>. </a:t>
            </a:r>
          </a:p>
          <a:p>
            <a:pPr lvl="0"/>
            <a:r>
              <a:rPr lang="en-US" sz="2500" dirty="0" smtClean="0"/>
              <a:t>Detect Service Denial</a:t>
            </a:r>
          </a:p>
          <a:p>
            <a:pPr lvl="1"/>
            <a:r>
              <a:rPr lang="en-US" sz="2100" dirty="0" smtClean="0"/>
              <a:t>Compare the </a:t>
            </a:r>
            <a:r>
              <a:rPr lang="en-US" sz="2100" dirty="0"/>
              <a:t>pattern or signature of network traffic </a:t>
            </a:r>
            <a:r>
              <a:rPr lang="en-US" sz="2100" i="1" dirty="0"/>
              <a:t>cominginto</a:t>
            </a:r>
            <a:r>
              <a:rPr lang="en-US" sz="2100" dirty="0"/>
              <a:t> a system to historic profiles of known Denial of Service (</a:t>
            </a:r>
            <a:r>
              <a:rPr lang="en-US" sz="2100" dirty="0" err="1"/>
              <a:t>DoS</a:t>
            </a:r>
            <a:r>
              <a:rPr lang="en-US" sz="2100" dirty="0"/>
              <a:t>) attacks</a:t>
            </a:r>
            <a:r>
              <a:rPr lang="en-US" sz="2100" dirty="0" smtClean="0"/>
              <a:t>.</a:t>
            </a:r>
          </a:p>
          <a:p>
            <a:pPr lvl="0"/>
            <a:r>
              <a:rPr lang="en-US" sz="2500" dirty="0" smtClean="0"/>
              <a:t>Verify Message Integrity</a:t>
            </a:r>
          </a:p>
          <a:p>
            <a:pPr lvl="1"/>
            <a:r>
              <a:rPr lang="en-US" sz="2100" dirty="0" smtClean="0"/>
              <a:t>Use checksums </a:t>
            </a:r>
            <a:r>
              <a:rPr lang="en-US" sz="2100" dirty="0"/>
              <a:t>or hash values to verify the integrity of messages, resource files, deployment files, and configuration files</a:t>
            </a:r>
            <a:r>
              <a:rPr lang="en-US" sz="2100" dirty="0" smtClean="0"/>
              <a:t>. </a:t>
            </a:r>
          </a:p>
          <a:p>
            <a:pPr lvl="0"/>
            <a:r>
              <a:rPr lang="en-US" sz="2500" dirty="0" smtClean="0"/>
              <a:t>Detect Message Delay: </a:t>
            </a:r>
          </a:p>
          <a:p>
            <a:pPr lvl="1"/>
            <a:r>
              <a:rPr lang="en-US" sz="2100" dirty="0" smtClean="0"/>
              <a:t>checking </a:t>
            </a:r>
            <a:r>
              <a:rPr lang="en-US" sz="2100" dirty="0"/>
              <a:t>the time that it takes to deliver a message, it is possible to detect suspicious timing </a:t>
            </a:r>
            <a:r>
              <a:rPr lang="en-US" sz="2100" dirty="0" smtClean="0"/>
              <a:t>behavior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5081509-F5C4-4946-A197-A0D9532F3882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20687098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sist Attac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lvl="0"/>
            <a:r>
              <a:rPr lang="en-US" dirty="0" smtClean="0"/>
              <a:t>Identify Actors: identify </a:t>
            </a:r>
            <a:r>
              <a:rPr lang="en-US" dirty="0"/>
              <a:t>the source of any external input to the system</a:t>
            </a:r>
            <a:r>
              <a:rPr lang="en-US" dirty="0" smtClean="0"/>
              <a:t>. </a:t>
            </a:r>
          </a:p>
          <a:p>
            <a:pPr lvl="0"/>
            <a:r>
              <a:rPr lang="en-US" dirty="0" smtClean="0"/>
              <a:t>Authenticate &amp; Authorize Actors: </a:t>
            </a:r>
          </a:p>
          <a:p>
            <a:pPr lvl="1"/>
            <a:r>
              <a:rPr lang="en-US" dirty="0" smtClean="0"/>
              <a:t>Use strong passwords, OTP, digital certificates, biometric identity </a:t>
            </a:r>
          </a:p>
          <a:p>
            <a:pPr lvl="1"/>
            <a:r>
              <a:rPr lang="en-US" dirty="0" smtClean="0"/>
              <a:t>Use access control pattern, define proper user class, user group, role based access</a:t>
            </a:r>
          </a:p>
          <a:p>
            <a:pPr lvl="0"/>
            <a:r>
              <a:rPr lang="en-US" dirty="0" smtClean="0"/>
              <a:t>Limit Access</a:t>
            </a:r>
            <a:endParaRPr lang="en-US" dirty="0"/>
          </a:p>
          <a:p>
            <a:pPr lvl="1"/>
            <a:r>
              <a:rPr lang="en-US" dirty="0" smtClean="0"/>
              <a:t>Restrict access based on message source or destination ports</a:t>
            </a:r>
          </a:p>
          <a:p>
            <a:pPr lvl="1"/>
            <a:r>
              <a:rPr lang="en-US" dirty="0" smtClean="0"/>
              <a:t>Use of DMZ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2A6AEAB-7665-4345-BA4D-0DEB89D48853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31494684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sist Attac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 smtClean="0"/>
              <a:t>Limit Exposure: minimize </a:t>
            </a:r>
            <a:r>
              <a:rPr lang="en-US" dirty="0"/>
              <a:t>the attack surface of a </a:t>
            </a:r>
            <a:r>
              <a:rPr lang="en-US" dirty="0" smtClean="0"/>
              <a:t>system by allocating limited number of services to each hosts</a:t>
            </a:r>
          </a:p>
          <a:p>
            <a:r>
              <a:rPr lang="en-US" dirty="0" smtClean="0"/>
              <a:t>Data confidentiality:</a:t>
            </a:r>
          </a:p>
          <a:p>
            <a:pPr lvl="1"/>
            <a:r>
              <a:rPr lang="en-US" dirty="0" smtClean="0"/>
              <a:t>Use encryption to encrypt data in database</a:t>
            </a:r>
          </a:p>
          <a:p>
            <a:pPr lvl="1"/>
            <a:r>
              <a:rPr lang="en-US" dirty="0" smtClean="0"/>
              <a:t>User encryption based communication such as SSL for web based transaction</a:t>
            </a:r>
          </a:p>
          <a:p>
            <a:pPr lvl="1"/>
            <a:r>
              <a:rPr lang="en-US" dirty="0" smtClean="0"/>
              <a:t>Use Virtual private network to communicate between two trusted machines</a:t>
            </a:r>
          </a:p>
          <a:p>
            <a:r>
              <a:rPr lang="en-US" dirty="0" smtClean="0"/>
              <a:t>Separate Entities: can </a:t>
            </a:r>
            <a:r>
              <a:rPr lang="en-US" dirty="0"/>
              <a:t>be done through physical separation on different servers </a:t>
            </a:r>
            <a:r>
              <a:rPr lang="en-US" dirty="0" smtClean="0"/>
              <a:t>attached </a:t>
            </a:r>
            <a:r>
              <a:rPr lang="en-US" dirty="0"/>
              <a:t>to different networks, the use of virtual </a:t>
            </a:r>
            <a:r>
              <a:rPr lang="en-US" dirty="0" smtClean="0"/>
              <a:t>machines, </a:t>
            </a:r>
            <a:r>
              <a:rPr lang="en-US" dirty="0"/>
              <a:t>or an “air </a:t>
            </a:r>
            <a:r>
              <a:rPr lang="en-US" dirty="0" smtClean="0"/>
              <a:t>gap”.</a:t>
            </a:r>
          </a:p>
          <a:p>
            <a:r>
              <a:rPr lang="en-US" dirty="0" smtClean="0"/>
              <a:t>Change Default Settings: Force </a:t>
            </a:r>
            <a:r>
              <a:rPr lang="en-US" dirty="0"/>
              <a:t>the user to change </a:t>
            </a:r>
            <a:r>
              <a:rPr lang="en-US" dirty="0" smtClean="0"/>
              <a:t>settings assigned by default.</a:t>
            </a:r>
            <a:endParaRPr lang="en-US" dirty="0"/>
          </a:p>
          <a:p>
            <a:pPr lvl="0"/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7EFF7B3-BF19-4613-BA60-F4B929FA26D0}" type="datetime1">
              <a:rPr lang="en-US" smtClean="0"/>
              <a:pPr>
                <a:defRPr/>
              </a:pPr>
              <a:t>5/2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10898589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816</TotalTime>
  <Words>1462</Words>
  <Application>Microsoft Macintosh PowerPoint</Application>
  <PresentationFormat>On-screen Show (4:3)</PresentationFormat>
  <Paragraphs>249</Paragraphs>
  <Slides>17</Slides>
  <Notes>2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Office Theme</vt:lpstr>
      <vt:lpstr>think-cell Slide</vt:lpstr>
      <vt:lpstr>SS ZG653 (RL 6.1): Software Architecture Security and Its Tactics</vt:lpstr>
      <vt:lpstr>What is Security</vt:lpstr>
      <vt:lpstr>Important aspects of Security</vt:lpstr>
      <vt:lpstr>Security Scenario</vt:lpstr>
      <vt:lpstr>Security Tactics- Close to Physical Security</vt:lpstr>
      <vt:lpstr>Security Tactics</vt:lpstr>
      <vt:lpstr>Detect Attacks</vt:lpstr>
      <vt:lpstr>Resist Attacks</vt:lpstr>
      <vt:lpstr>Resist Attacks</vt:lpstr>
      <vt:lpstr>React to Attacks</vt:lpstr>
      <vt:lpstr>Recover From Attacks</vt:lpstr>
      <vt:lpstr>Design Checklist- Allocation of Responsibilities</vt:lpstr>
      <vt:lpstr>Design Checklist- Manage Data</vt:lpstr>
      <vt:lpstr>Design Checklist- Manage Coordination</vt:lpstr>
      <vt:lpstr>Design Checklist- Manage Resource</vt:lpstr>
      <vt:lpstr>Design checklist- Binding</vt:lpstr>
      <vt:lpstr>Design Checklist- Technology choice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634</cp:revision>
  <dcterms:created xsi:type="dcterms:W3CDTF">2015-05-27T08:23:40Z</dcterms:created>
  <dcterms:modified xsi:type="dcterms:W3CDTF">2015-05-27T08:24:04Z</dcterms:modified>
</cp:coreProperties>
</file>